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15"/>
  </p:notesMasterIdLst>
  <p:handoutMasterIdLst>
    <p:handoutMasterId r:id="rId16"/>
  </p:handoutMasterIdLst>
  <p:sldIdLst>
    <p:sldId id="2147472851" r:id="rId5"/>
    <p:sldId id="257" r:id="rId6"/>
    <p:sldId id="260" r:id="rId7"/>
    <p:sldId id="12942" r:id="rId8"/>
    <p:sldId id="2141411167" r:id="rId9"/>
    <p:sldId id="2141411165" r:id="rId10"/>
    <p:sldId id="2141411163" r:id="rId11"/>
    <p:sldId id="273" r:id="rId12"/>
    <p:sldId id="2147470195" r:id="rId13"/>
    <p:sldId id="2141411161" r:id="rId14"/>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B2ED"/>
    <a:srgbClr val="43A2D8"/>
    <a:srgbClr val="4CB1E9"/>
    <a:srgbClr val="0081CC"/>
    <a:srgbClr val="F4F4F4"/>
    <a:srgbClr val="DA291C"/>
    <a:srgbClr val="959CA0"/>
    <a:srgbClr val="FE8A12"/>
    <a:srgbClr val="F4C65A"/>
    <a:srgbClr val="FFE2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B629AB-DDBC-48F2-A337-B4E002DD19CA}" v="219" dt="2024-12-04T12:40:19.996"/>
    <p1510:client id="{E3B88E49-293D-F34A-80E4-F610518849E5}" v="1338" dt="2024-12-04T09:02:07.2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mboj, Sandeep" userId="S::skamboj@in.imshealth.com::b1434cc5-997d-4115-b984-843629191137" providerId="AD" clId="Web-{37D6B158-0D7E-0F98-D212-AF19AA32F2F6}"/>
    <pc:docChg chg="modSld">
      <pc:chgData name="Kamboj, Sandeep" userId="S::skamboj@in.imshealth.com::b1434cc5-997d-4115-b984-843629191137" providerId="AD" clId="Web-{37D6B158-0D7E-0F98-D212-AF19AA32F2F6}" dt="2024-12-02T13:00:12.142" v="21" actId="20577"/>
      <pc:docMkLst>
        <pc:docMk/>
      </pc:docMkLst>
      <pc:sldChg chg="modSp">
        <pc:chgData name="Kamboj, Sandeep" userId="S::skamboj@in.imshealth.com::b1434cc5-997d-4115-b984-843629191137" providerId="AD" clId="Web-{37D6B158-0D7E-0F98-D212-AF19AA32F2F6}" dt="2024-12-02T13:00:12.142" v="21" actId="20577"/>
        <pc:sldMkLst>
          <pc:docMk/>
          <pc:sldMk cId="2706595542" sldId="257"/>
        </pc:sldMkLst>
        <pc:spChg chg="mod">
          <ac:chgData name="Kamboj, Sandeep" userId="S::skamboj@in.imshealth.com::b1434cc5-997d-4115-b984-843629191137" providerId="AD" clId="Web-{37D6B158-0D7E-0F98-D212-AF19AA32F2F6}" dt="2024-12-02T13:00:12.142" v="21" actId="20577"/>
          <ac:spMkLst>
            <pc:docMk/>
            <pc:sldMk cId="2706595542" sldId="257"/>
            <ac:spMk id="2" creationId="{54972565-B463-4A0D-AE01-73E66F414133}"/>
          </ac:spMkLst>
        </pc:spChg>
      </pc:sldChg>
    </pc:docChg>
  </pc:docChgLst>
  <pc:docChgLst>
    <pc:chgData name="Biradar, Shivasagar" userId="4b865266-c56a-491e-9f88-d9f07bb8d3d0" providerId="ADAL" clId="{E3B88E49-293D-F34A-80E4-F610518849E5}"/>
    <pc:docChg chg="undo custSel addSld delSld modSld sldOrd">
      <pc:chgData name="Biradar, Shivasagar" userId="4b865266-c56a-491e-9f88-d9f07bb8d3d0" providerId="ADAL" clId="{E3B88E49-293D-F34A-80E4-F610518849E5}" dt="2024-12-04T09:02:07.256" v="1633" actId="20577"/>
      <pc:docMkLst>
        <pc:docMk/>
      </pc:docMkLst>
      <pc:sldChg chg="modSp mod">
        <pc:chgData name="Biradar, Shivasagar" userId="4b865266-c56a-491e-9f88-d9f07bb8d3d0" providerId="ADAL" clId="{E3B88E49-293D-F34A-80E4-F610518849E5}" dt="2024-12-02T16:56:32.863" v="1618" actId="20577"/>
        <pc:sldMkLst>
          <pc:docMk/>
          <pc:sldMk cId="2706595542" sldId="257"/>
        </pc:sldMkLst>
        <pc:spChg chg="mod">
          <ac:chgData name="Biradar, Shivasagar" userId="4b865266-c56a-491e-9f88-d9f07bb8d3d0" providerId="ADAL" clId="{E3B88E49-293D-F34A-80E4-F610518849E5}" dt="2024-12-02T16:56:32.863" v="1618" actId="20577"/>
          <ac:spMkLst>
            <pc:docMk/>
            <pc:sldMk cId="2706595542" sldId="257"/>
            <ac:spMk id="2" creationId="{54972565-B463-4A0D-AE01-73E66F414133}"/>
          </ac:spMkLst>
        </pc:spChg>
      </pc:sldChg>
      <pc:sldChg chg="add del">
        <pc:chgData name="Biradar, Shivasagar" userId="4b865266-c56a-491e-9f88-d9f07bb8d3d0" providerId="ADAL" clId="{E3B88E49-293D-F34A-80E4-F610518849E5}" dt="2024-12-02T08:37:14.982" v="26" actId="2696"/>
        <pc:sldMkLst>
          <pc:docMk/>
          <pc:sldMk cId="2903783438" sldId="4774"/>
        </pc:sldMkLst>
      </pc:sldChg>
      <pc:sldChg chg="addSp delSp modSp add del mod ord">
        <pc:chgData name="Biradar, Shivasagar" userId="4b865266-c56a-491e-9f88-d9f07bb8d3d0" providerId="ADAL" clId="{E3B88E49-293D-F34A-80E4-F610518849E5}" dt="2024-12-02T16:56:20.884" v="1617" actId="2696"/>
        <pc:sldMkLst>
          <pc:docMk/>
          <pc:sldMk cId="4255172415" sldId="5447"/>
        </pc:sldMkLst>
      </pc:sldChg>
      <pc:sldChg chg="addSp delSp modSp add del mod ord">
        <pc:chgData name="Biradar, Shivasagar" userId="4b865266-c56a-491e-9f88-d9f07bb8d3d0" providerId="ADAL" clId="{E3B88E49-293D-F34A-80E4-F610518849E5}" dt="2024-12-02T14:22:25.938" v="1513" actId="2696"/>
        <pc:sldMkLst>
          <pc:docMk/>
          <pc:sldMk cId="2047085073" sldId="5472"/>
        </pc:sldMkLst>
      </pc:sldChg>
      <pc:sldChg chg="delSp modSp add del mod">
        <pc:chgData name="Biradar, Shivasagar" userId="4b865266-c56a-491e-9f88-d9f07bb8d3d0" providerId="ADAL" clId="{E3B88E49-293D-F34A-80E4-F610518849E5}" dt="2024-12-02T14:50:16.406" v="1616" actId="2696"/>
        <pc:sldMkLst>
          <pc:docMk/>
          <pc:sldMk cId="1603755393" sldId="5501"/>
        </pc:sldMkLst>
      </pc:sldChg>
      <pc:sldChg chg="add del">
        <pc:chgData name="Biradar, Shivasagar" userId="4b865266-c56a-491e-9f88-d9f07bb8d3d0" providerId="ADAL" clId="{E3B88E49-293D-F34A-80E4-F610518849E5}" dt="2024-12-02T07:51:38.397" v="13" actId="2696"/>
        <pc:sldMkLst>
          <pc:docMk/>
          <pc:sldMk cId="1263283585" sldId="5530"/>
        </pc:sldMkLst>
      </pc:sldChg>
      <pc:sldChg chg="modSp add del mod">
        <pc:chgData name="Biradar, Shivasagar" userId="4b865266-c56a-491e-9f88-d9f07bb8d3d0" providerId="ADAL" clId="{E3B88E49-293D-F34A-80E4-F610518849E5}" dt="2024-12-02T08:46:10.809" v="73" actId="2696"/>
        <pc:sldMkLst>
          <pc:docMk/>
          <pc:sldMk cId="1913859105" sldId="12937"/>
        </pc:sldMkLst>
      </pc:sldChg>
      <pc:sldChg chg="modSp mod">
        <pc:chgData name="Biradar, Shivasagar" userId="4b865266-c56a-491e-9f88-d9f07bb8d3d0" providerId="ADAL" clId="{E3B88E49-293D-F34A-80E4-F610518849E5}" dt="2024-12-02T11:37:27.526" v="1066" actId="20577"/>
        <pc:sldMkLst>
          <pc:docMk/>
          <pc:sldMk cId="1248463422" sldId="2141411165"/>
        </pc:sldMkLst>
        <pc:spChg chg="mod">
          <ac:chgData name="Biradar, Shivasagar" userId="4b865266-c56a-491e-9f88-d9f07bb8d3d0" providerId="ADAL" clId="{E3B88E49-293D-F34A-80E4-F610518849E5}" dt="2024-12-02T11:37:27.526" v="1066" actId="20577"/>
          <ac:spMkLst>
            <pc:docMk/>
            <pc:sldMk cId="1248463422" sldId="2141411165"/>
            <ac:spMk id="5" creationId="{A554A226-8510-CC59-94C5-56C7750E4DFE}"/>
          </ac:spMkLst>
        </pc:spChg>
      </pc:sldChg>
      <pc:sldChg chg="modSp mod modShow">
        <pc:chgData name="Biradar, Shivasagar" userId="4b865266-c56a-491e-9f88-d9f07bb8d3d0" providerId="ADAL" clId="{E3B88E49-293D-F34A-80E4-F610518849E5}" dt="2024-12-02T13:40:59.985" v="1427" actId="729"/>
        <pc:sldMkLst>
          <pc:docMk/>
          <pc:sldMk cId="3387533173" sldId="2141411166"/>
        </pc:sldMkLst>
        <pc:spChg chg="mod">
          <ac:chgData name="Biradar, Shivasagar" userId="4b865266-c56a-491e-9f88-d9f07bb8d3d0" providerId="ADAL" clId="{E3B88E49-293D-F34A-80E4-F610518849E5}" dt="2024-12-02T11:52:25.730" v="1255" actId="20577"/>
          <ac:spMkLst>
            <pc:docMk/>
            <pc:sldMk cId="3387533173" sldId="2141411166"/>
            <ac:spMk id="7" creationId="{2B0A1D58-18DA-A43B-D398-D3AFE437992B}"/>
          </ac:spMkLst>
        </pc:spChg>
      </pc:sldChg>
      <pc:sldChg chg="addSp delSp modSp add mod ord">
        <pc:chgData name="Biradar, Shivasagar" userId="4b865266-c56a-491e-9f88-d9f07bb8d3d0" providerId="ADAL" clId="{E3B88E49-293D-F34A-80E4-F610518849E5}" dt="2024-12-02T17:01:23.254" v="1625"/>
        <pc:sldMkLst>
          <pc:docMk/>
          <pc:sldMk cId="705887743" sldId="2141411167"/>
        </pc:sldMkLst>
        <pc:spChg chg="mod">
          <ac:chgData name="Biradar, Shivasagar" userId="4b865266-c56a-491e-9f88-d9f07bb8d3d0" providerId="ADAL" clId="{E3B88E49-293D-F34A-80E4-F610518849E5}" dt="2024-12-02T14:13:02.245" v="1498" actId="20577"/>
          <ac:spMkLst>
            <pc:docMk/>
            <pc:sldMk cId="705887743" sldId="2141411167"/>
            <ac:spMk id="2" creationId="{7ED69F31-BF85-614E-9D06-00989F090129}"/>
          </ac:spMkLst>
        </pc:spChg>
        <pc:spChg chg="mod">
          <ac:chgData name="Biradar, Shivasagar" userId="4b865266-c56a-491e-9f88-d9f07bb8d3d0" providerId="ADAL" clId="{E3B88E49-293D-F34A-80E4-F610518849E5}" dt="2024-12-02T17:01:20.021" v="1623"/>
          <ac:spMkLst>
            <pc:docMk/>
            <pc:sldMk cId="705887743" sldId="2141411167"/>
            <ac:spMk id="7" creationId="{5853AA08-F1D5-EC49-97EC-8A66AE278B3F}"/>
          </ac:spMkLst>
        </pc:spChg>
        <pc:picChg chg="add mod">
          <ac:chgData name="Biradar, Shivasagar" userId="4b865266-c56a-491e-9f88-d9f07bb8d3d0" providerId="ADAL" clId="{E3B88E49-293D-F34A-80E4-F610518849E5}" dt="2024-12-02T07:56:25.335" v="21" actId="14861"/>
          <ac:picMkLst>
            <pc:docMk/>
            <pc:sldMk cId="705887743" sldId="2141411167"/>
            <ac:picMk id="4" creationId="{CB0A8AF9-851F-65A9-F6A1-6BE2F8DF0369}"/>
          </ac:picMkLst>
        </pc:picChg>
      </pc:sldChg>
      <pc:sldChg chg="add del">
        <pc:chgData name="Biradar, Shivasagar" userId="4b865266-c56a-491e-9f88-d9f07bb8d3d0" providerId="ADAL" clId="{E3B88E49-293D-F34A-80E4-F610518849E5}" dt="2024-12-02T07:43:23.475" v="11"/>
        <pc:sldMkLst>
          <pc:docMk/>
          <pc:sldMk cId="2419243113" sldId="2141411167"/>
        </pc:sldMkLst>
      </pc:sldChg>
      <pc:sldChg chg="modSp add mod ord modShow">
        <pc:chgData name="Biradar, Shivasagar" userId="4b865266-c56a-491e-9f88-d9f07bb8d3d0" providerId="ADAL" clId="{E3B88E49-293D-F34A-80E4-F610518849E5}" dt="2024-12-02T13:41:04.416" v="1428" actId="729"/>
        <pc:sldMkLst>
          <pc:docMk/>
          <pc:sldMk cId="792656175" sldId="2141411168"/>
        </pc:sldMkLst>
        <pc:spChg chg="mod">
          <ac:chgData name="Biradar, Shivasagar" userId="4b865266-c56a-491e-9f88-d9f07bb8d3d0" providerId="ADAL" clId="{E3B88E49-293D-F34A-80E4-F610518849E5}" dt="2024-12-02T11:47:22.613" v="1091" actId="20577"/>
          <ac:spMkLst>
            <pc:docMk/>
            <pc:sldMk cId="792656175" sldId="2141411168"/>
            <ac:spMk id="2" creationId="{5C89AAEF-EF5F-46E8-B344-1E1ADD5D6127}"/>
          </ac:spMkLst>
        </pc:spChg>
        <pc:spChg chg="mod">
          <ac:chgData name="Biradar, Shivasagar" userId="4b865266-c56a-491e-9f88-d9f07bb8d3d0" providerId="ADAL" clId="{E3B88E49-293D-F34A-80E4-F610518849E5}" dt="2024-12-02T11:47:43.143" v="1092" actId="313"/>
          <ac:spMkLst>
            <pc:docMk/>
            <pc:sldMk cId="792656175" sldId="2141411168"/>
            <ac:spMk id="27" creationId="{A78D6C61-76DE-4D3B-AEA1-ADE242A3C7F9}"/>
          </ac:spMkLst>
        </pc:spChg>
        <pc:spChg chg="mod">
          <ac:chgData name="Biradar, Shivasagar" userId="4b865266-c56a-491e-9f88-d9f07bb8d3d0" providerId="ADAL" clId="{E3B88E49-293D-F34A-80E4-F610518849E5}" dt="2024-12-02T11:51:05.756" v="1249" actId="20577"/>
          <ac:spMkLst>
            <pc:docMk/>
            <pc:sldMk cId="792656175" sldId="2141411168"/>
            <ac:spMk id="28" creationId="{63753C7E-95A3-47F3-9949-D2FC5F887658}"/>
          </ac:spMkLst>
        </pc:spChg>
        <pc:spChg chg="mod">
          <ac:chgData name="Biradar, Shivasagar" userId="4b865266-c56a-491e-9f88-d9f07bb8d3d0" providerId="ADAL" clId="{E3B88E49-293D-F34A-80E4-F610518849E5}" dt="2024-12-02T09:13:49.594" v="277"/>
          <ac:spMkLst>
            <pc:docMk/>
            <pc:sldMk cId="792656175" sldId="2141411168"/>
            <ac:spMk id="29" creationId="{37B459C1-1E15-450E-9DF0-4FCF52ECC185}"/>
          </ac:spMkLst>
        </pc:spChg>
      </pc:sldChg>
      <pc:sldChg chg="modSp add del mod">
        <pc:chgData name="Biradar, Shivasagar" userId="4b865266-c56a-491e-9f88-d9f07bb8d3d0" providerId="ADAL" clId="{E3B88E49-293D-F34A-80E4-F610518849E5}" dt="2024-12-04T09:02:07.256" v="1633" actId="20577"/>
        <pc:sldMkLst>
          <pc:docMk/>
          <pc:sldMk cId="1785708299" sldId="2147470195"/>
        </pc:sldMkLst>
        <pc:spChg chg="mod">
          <ac:chgData name="Biradar, Shivasagar" userId="4b865266-c56a-491e-9f88-d9f07bb8d3d0" providerId="ADAL" clId="{E3B88E49-293D-F34A-80E4-F610518849E5}" dt="2024-12-02T14:38:16.869" v="1605"/>
          <ac:spMkLst>
            <pc:docMk/>
            <pc:sldMk cId="1785708299" sldId="2147470195"/>
            <ac:spMk id="2" creationId="{5E9B417D-F532-4CDC-BDA3-3016616DB01A}"/>
          </ac:spMkLst>
        </pc:spChg>
        <pc:spChg chg="mod">
          <ac:chgData name="Biradar, Shivasagar" userId="4b865266-c56a-491e-9f88-d9f07bb8d3d0" providerId="ADAL" clId="{E3B88E49-293D-F34A-80E4-F610518849E5}" dt="2024-12-02T14:39:11.010" v="1609"/>
          <ac:spMkLst>
            <pc:docMk/>
            <pc:sldMk cId="1785708299" sldId="2147470195"/>
            <ac:spMk id="20" creationId="{5F3FC854-9CC8-4A29-A2C6-E749432B089D}"/>
          </ac:spMkLst>
        </pc:spChg>
        <pc:spChg chg="mod">
          <ac:chgData name="Biradar, Shivasagar" userId="4b865266-c56a-491e-9f88-d9f07bb8d3d0" providerId="ADAL" clId="{E3B88E49-293D-F34A-80E4-F610518849E5}" dt="2024-12-02T14:39:26.188" v="1610"/>
          <ac:spMkLst>
            <pc:docMk/>
            <pc:sldMk cId="1785708299" sldId="2147470195"/>
            <ac:spMk id="21" creationId="{30EA5735-A15E-45C3-B25C-B5A91A22A39F}"/>
          </ac:spMkLst>
        </pc:spChg>
        <pc:spChg chg="mod">
          <ac:chgData name="Biradar, Shivasagar" userId="4b865266-c56a-491e-9f88-d9f07bb8d3d0" providerId="ADAL" clId="{E3B88E49-293D-F34A-80E4-F610518849E5}" dt="2024-12-02T14:40:06.443" v="1613"/>
          <ac:spMkLst>
            <pc:docMk/>
            <pc:sldMk cId="1785708299" sldId="2147470195"/>
            <ac:spMk id="22" creationId="{6F0B7CA2-E360-4594-B867-AE803A4A77BA}"/>
          </ac:spMkLst>
        </pc:spChg>
        <pc:spChg chg="mod">
          <ac:chgData name="Biradar, Shivasagar" userId="4b865266-c56a-491e-9f88-d9f07bb8d3d0" providerId="ADAL" clId="{E3B88E49-293D-F34A-80E4-F610518849E5}" dt="2024-12-02T14:38:50.247" v="1607" actId="255"/>
          <ac:spMkLst>
            <pc:docMk/>
            <pc:sldMk cId="1785708299" sldId="2147470195"/>
            <ac:spMk id="23" creationId="{C70B2ED0-2D34-432B-9B21-2E9F2A7097E4}"/>
          </ac:spMkLst>
        </pc:spChg>
        <pc:spChg chg="mod">
          <ac:chgData name="Biradar, Shivasagar" userId="4b865266-c56a-491e-9f88-d9f07bb8d3d0" providerId="ADAL" clId="{E3B88E49-293D-F34A-80E4-F610518849E5}" dt="2024-12-04T09:02:07.256" v="1633" actId="20577"/>
          <ac:spMkLst>
            <pc:docMk/>
            <pc:sldMk cId="1785708299" sldId="2147470195"/>
            <ac:spMk id="24" creationId="{283E9139-502A-4E95-BD4B-7607E36D4315}"/>
          </ac:spMkLst>
        </pc:spChg>
        <pc:spChg chg="mod">
          <ac:chgData name="Biradar, Shivasagar" userId="4b865266-c56a-491e-9f88-d9f07bb8d3d0" providerId="ADAL" clId="{E3B88E49-293D-F34A-80E4-F610518849E5}" dt="2024-12-02T14:40:34.079" v="1615" actId="255"/>
          <ac:spMkLst>
            <pc:docMk/>
            <pc:sldMk cId="1785708299" sldId="2147470195"/>
            <ac:spMk id="25" creationId="{1D6ED8A7-8F1E-4072-9D1C-15F2670F9CB7}"/>
          </ac:spMkLst>
        </pc:spChg>
      </pc:sldChg>
      <pc:sldChg chg="modSp add del mod">
        <pc:chgData name="Biradar, Shivasagar" userId="4b865266-c56a-491e-9f88-d9f07bb8d3d0" providerId="ADAL" clId="{E3B88E49-293D-F34A-80E4-F610518849E5}" dt="2024-12-02T13:04:01.731" v="1300" actId="2696"/>
        <pc:sldMkLst>
          <pc:docMk/>
          <pc:sldMk cId="3403010164" sldId="2147472852"/>
        </pc:sldMkLst>
      </pc:sldChg>
      <pc:sldMasterChg chg="delSldLayout">
        <pc:chgData name="Biradar, Shivasagar" userId="4b865266-c56a-491e-9f88-d9f07bb8d3d0" providerId="ADAL" clId="{E3B88E49-293D-F34A-80E4-F610518849E5}" dt="2024-12-02T14:22:25.938" v="1513" actId="2696"/>
        <pc:sldMasterMkLst>
          <pc:docMk/>
          <pc:sldMasterMk cId="1987436075" sldId="2147484233"/>
        </pc:sldMasterMkLst>
        <pc:sldLayoutChg chg="del">
          <pc:chgData name="Biradar, Shivasagar" userId="4b865266-c56a-491e-9f88-d9f07bb8d3d0" providerId="ADAL" clId="{E3B88E49-293D-F34A-80E4-F610518849E5}" dt="2024-12-02T14:22:25.938" v="1513" actId="2696"/>
          <pc:sldLayoutMkLst>
            <pc:docMk/>
            <pc:sldMasterMk cId="1987436075" sldId="2147484233"/>
            <pc:sldLayoutMk cId="3498429970" sldId="2147484262"/>
          </pc:sldLayoutMkLst>
        </pc:sldLayoutChg>
      </pc:sldMasterChg>
    </pc:docChg>
  </pc:docChgLst>
  <pc:docChgLst>
    <pc:chgData name="Kamboj, Sandeep" userId="b1434cc5-997d-4115-b984-843629191137" providerId="ADAL" clId="{77B629AB-DDBC-48F2-A337-B4E002DD19CA}"/>
    <pc:docChg chg="undo custSel addSld delSld modSld sldOrd">
      <pc:chgData name="Kamboj, Sandeep" userId="b1434cc5-997d-4115-b984-843629191137" providerId="ADAL" clId="{77B629AB-DDBC-48F2-A337-B4E002DD19CA}" dt="2024-12-04T12:40:19.996" v="1618" actId="47"/>
      <pc:docMkLst>
        <pc:docMk/>
      </pc:docMkLst>
      <pc:sldChg chg="modSp del mod">
        <pc:chgData name="Kamboj, Sandeep" userId="b1434cc5-997d-4115-b984-843629191137" providerId="ADAL" clId="{77B629AB-DDBC-48F2-A337-B4E002DD19CA}" dt="2024-12-02T12:25:11.013" v="1434" actId="47"/>
        <pc:sldMkLst>
          <pc:docMk/>
          <pc:sldMk cId="2136439337" sldId="256"/>
        </pc:sldMkLst>
      </pc:sldChg>
      <pc:sldChg chg="modSp mod ord">
        <pc:chgData name="Kamboj, Sandeep" userId="b1434cc5-997d-4115-b984-843629191137" providerId="ADAL" clId="{77B629AB-DDBC-48F2-A337-B4E002DD19CA}" dt="2024-12-03T09:37:07.041" v="1571" actId="6549"/>
        <pc:sldMkLst>
          <pc:docMk/>
          <pc:sldMk cId="2706595542" sldId="257"/>
        </pc:sldMkLst>
        <pc:spChg chg="mod">
          <ac:chgData name="Kamboj, Sandeep" userId="b1434cc5-997d-4115-b984-843629191137" providerId="ADAL" clId="{77B629AB-DDBC-48F2-A337-B4E002DD19CA}" dt="2024-12-03T09:37:07.041" v="1571" actId="6549"/>
          <ac:spMkLst>
            <pc:docMk/>
            <pc:sldMk cId="2706595542" sldId="257"/>
            <ac:spMk id="2" creationId="{54972565-B463-4A0D-AE01-73E66F414133}"/>
          </ac:spMkLst>
        </pc:spChg>
      </pc:sldChg>
      <pc:sldChg chg="del">
        <pc:chgData name="Kamboj, Sandeep" userId="b1434cc5-997d-4115-b984-843629191137" providerId="ADAL" clId="{77B629AB-DDBC-48F2-A337-B4E002DD19CA}" dt="2024-11-28T08:35:01.386" v="1" actId="47"/>
        <pc:sldMkLst>
          <pc:docMk/>
          <pc:sldMk cId="0" sldId="259"/>
        </pc:sldMkLst>
      </pc:sldChg>
      <pc:sldChg chg="modSp mod ord">
        <pc:chgData name="Kamboj, Sandeep" userId="b1434cc5-997d-4115-b984-843629191137" providerId="ADAL" clId="{77B629AB-DDBC-48F2-A337-B4E002DD19CA}" dt="2024-12-02T11:44:28.149" v="1432"/>
        <pc:sldMkLst>
          <pc:docMk/>
          <pc:sldMk cId="492020610" sldId="260"/>
        </pc:sldMkLst>
        <pc:spChg chg="mod">
          <ac:chgData name="Kamboj, Sandeep" userId="b1434cc5-997d-4115-b984-843629191137" providerId="ADAL" clId="{77B629AB-DDBC-48F2-A337-B4E002DD19CA}" dt="2024-11-28T11:50:18.389" v="1212" actId="14100"/>
          <ac:spMkLst>
            <pc:docMk/>
            <pc:sldMk cId="492020610" sldId="260"/>
            <ac:spMk id="5" creationId="{AD8C524C-9A53-4D86-B780-099467E78525}"/>
          </ac:spMkLst>
        </pc:spChg>
      </pc:sldChg>
      <pc:sldChg chg="del">
        <pc:chgData name="Kamboj, Sandeep" userId="b1434cc5-997d-4115-b984-843629191137" providerId="ADAL" clId="{77B629AB-DDBC-48F2-A337-B4E002DD19CA}" dt="2024-11-28T08:35:05.043" v="9" actId="47"/>
        <pc:sldMkLst>
          <pc:docMk/>
          <pc:sldMk cId="3195615562" sldId="268"/>
        </pc:sldMkLst>
      </pc:sldChg>
      <pc:sldChg chg="modSp add mod">
        <pc:chgData name="Kamboj, Sandeep" userId="b1434cc5-997d-4115-b984-843629191137" providerId="ADAL" clId="{77B629AB-DDBC-48F2-A337-B4E002DD19CA}" dt="2024-11-28T11:43:29.043" v="1001" actId="1076"/>
        <pc:sldMkLst>
          <pc:docMk/>
          <pc:sldMk cId="2424104678" sldId="273"/>
        </pc:sldMkLst>
        <pc:spChg chg="mod">
          <ac:chgData name="Kamboj, Sandeep" userId="b1434cc5-997d-4115-b984-843629191137" providerId="ADAL" clId="{77B629AB-DDBC-48F2-A337-B4E002DD19CA}" dt="2024-11-28T11:42:56.836" v="922" actId="20577"/>
          <ac:spMkLst>
            <pc:docMk/>
            <pc:sldMk cId="2424104678" sldId="273"/>
            <ac:spMk id="3" creationId="{FD2B8B85-2E5A-4FD5-B022-868DF0E3763F}"/>
          </ac:spMkLst>
        </pc:spChg>
        <pc:spChg chg="mod">
          <ac:chgData name="Kamboj, Sandeep" userId="b1434cc5-997d-4115-b984-843629191137" providerId="ADAL" clId="{77B629AB-DDBC-48F2-A337-B4E002DD19CA}" dt="2024-11-28T11:43:29.043" v="1001" actId="1076"/>
          <ac:spMkLst>
            <pc:docMk/>
            <pc:sldMk cId="2424104678" sldId="273"/>
            <ac:spMk id="12" creationId="{2BE07E4F-849A-4830-B7C2-5E4EE042EDE0}"/>
          </ac:spMkLst>
        </pc:spChg>
      </pc:sldChg>
      <pc:sldChg chg="del">
        <pc:chgData name="Kamboj, Sandeep" userId="b1434cc5-997d-4115-b984-843629191137" providerId="ADAL" clId="{77B629AB-DDBC-48F2-A337-B4E002DD19CA}" dt="2024-11-28T08:35:02.327" v="4" actId="47"/>
        <pc:sldMkLst>
          <pc:docMk/>
          <pc:sldMk cId="3605390476" sldId="5430"/>
        </pc:sldMkLst>
      </pc:sldChg>
      <pc:sldChg chg="add del mod ord modShow">
        <pc:chgData name="Kamboj, Sandeep" userId="b1434cc5-997d-4115-b984-843629191137" providerId="ADAL" clId="{77B629AB-DDBC-48F2-A337-B4E002DD19CA}" dt="2024-12-02T12:32:38.553" v="1445" actId="729"/>
        <pc:sldMkLst>
          <pc:docMk/>
          <pc:sldMk cId="2047085073" sldId="5472"/>
        </pc:sldMkLst>
      </pc:sldChg>
      <pc:sldChg chg="del">
        <pc:chgData name="Kamboj, Sandeep" userId="b1434cc5-997d-4115-b984-843629191137" providerId="ADAL" clId="{77B629AB-DDBC-48F2-A337-B4E002DD19CA}" dt="2024-11-28T08:35:02.117" v="3" actId="47"/>
        <pc:sldMkLst>
          <pc:docMk/>
          <pc:sldMk cId="2108926186" sldId="5490"/>
        </pc:sldMkLst>
      </pc:sldChg>
      <pc:sldChg chg="modSp del mod">
        <pc:chgData name="Kamboj, Sandeep" userId="b1434cc5-997d-4115-b984-843629191137" providerId="ADAL" clId="{77B629AB-DDBC-48F2-A337-B4E002DD19CA}" dt="2024-12-02T13:43:30.438" v="1505" actId="20577"/>
        <pc:sldMkLst>
          <pc:docMk/>
          <pc:sldMk cId="1603755393" sldId="5501"/>
        </pc:sldMkLst>
        <pc:spChg chg="mod">
          <ac:chgData name="Kamboj, Sandeep" userId="b1434cc5-997d-4115-b984-843629191137" providerId="ADAL" clId="{77B629AB-DDBC-48F2-A337-B4E002DD19CA}" dt="2024-12-02T13:43:30.438" v="1505" actId="20577"/>
          <ac:spMkLst>
            <pc:docMk/>
            <pc:sldMk cId="1603755393" sldId="5501"/>
            <ac:spMk id="65" creationId="{C6914C5E-769A-4069-ADCC-27B006314F8D}"/>
          </ac:spMkLst>
        </pc:spChg>
      </pc:sldChg>
      <pc:sldChg chg="del">
        <pc:chgData name="Kamboj, Sandeep" userId="b1434cc5-997d-4115-b984-843629191137" providerId="ADAL" clId="{77B629AB-DDBC-48F2-A337-B4E002DD19CA}" dt="2024-11-28T08:35:05.648" v="10" actId="47"/>
        <pc:sldMkLst>
          <pc:docMk/>
          <pc:sldMk cId="1913859105" sldId="12937"/>
        </pc:sldMkLst>
      </pc:sldChg>
      <pc:sldChg chg="addSp delSp modSp add mod">
        <pc:chgData name="Kamboj, Sandeep" userId="b1434cc5-997d-4115-b984-843629191137" providerId="ADAL" clId="{77B629AB-DDBC-48F2-A337-B4E002DD19CA}" dt="2024-12-02T12:39:00.681" v="1495" actId="478"/>
        <pc:sldMkLst>
          <pc:docMk/>
          <pc:sldMk cId="3372285431" sldId="12942"/>
        </pc:sldMkLst>
        <pc:spChg chg="mod">
          <ac:chgData name="Kamboj, Sandeep" userId="b1434cc5-997d-4115-b984-843629191137" providerId="ADAL" clId="{77B629AB-DDBC-48F2-A337-B4E002DD19CA}" dt="2024-11-28T08:55:29.885" v="360" actId="1076"/>
          <ac:spMkLst>
            <pc:docMk/>
            <pc:sldMk cId="3372285431" sldId="12942"/>
            <ac:spMk id="4" creationId="{39EE27DB-220F-8FF3-2CD6-7BA1A4CA6E8B}"/>
          </ac:spMkLst>
        </pc:spChg>
        <pc:spChg chg="add del mod">
          <ac:chgData name="Kamboj, Sandeep" userId="b1434cc5-997d-4115-b984-843629191137" providerId="ADAL" clId="{77B629AB-DDBC-48F2-A337-B4E002DD19CA}" dt="2024-12-02T12:39:00.681" v="1495" actId="478"/>
          <ac:spMkLst>
            <pc:docMk/>
            <pc:sldMk cId="3372285431" sldId="12942"/>
            <ac:spMk id="5" creationId="{937B93AF-F549-B354-47F1-682CBBF95768}"/>
          </ac:spMkLst>
        </pc:spChg>
        <pc:spChg chg="add del mod">
          <ac:chgData name="Kamboj, Sandeep" userId="b1434cc5-997d-4115-b984-843629191137" providerId="ADAL" clId="{77B629AB-DDBC-48F2-A337-B4E002DD19CA}" dt="2024-12-02T12:38:58.800" v="1493" actId="478"/>
          <ac:spMkLst>
            <pc:docMk/>
            <pc:sldMk cId="3372285431" sldId="12942"/>
            <ac:spMk id="6" creationId="{878B71E2-B7F0-F72C-E795-FFE7695BBBA3}"/>
          </ac:spMkLst>
        </pc:spChg>
        <pc:graphicFrameChg chg="add mod modGraphic">
          <ac:chgData name="Kamboj, Sandeep" userId="b1434cc5-997d-4115-b984-843629191137" providerId="ADAL" clId="{77B629AB-DDBC-48F2-A337-B4E002DD19CA}" dt="2024-11-28T08:55:19.706" v="359" actId="1076"/>
          <ac:graphicFrameMkLst>
            <pc:docMk/>
            <pc:sldMk cId="3372285431" sldId="12942"/>
            <ac:graphicFrameMk id="12" creationId="{FB060CCF-C91F-BE65-E8A2-47DEB8E48CFA}"/>
          </ac:graphicFrameMkLst>
        </pc:graphicFrameChg>
        <pc:graphicFrameChg chg="add mod modGraphic">
          <ac:chgData name="Kamboj, Sandeep" userId="b1434cc5-997d-4115-b984-843629191137" providerId="ADAL" clId="{77B629AB-DDBC-48F2-A337-B4E002DD19CA}" dt="2024-11-28T08:57:10.386" v="364" actId="14100"/>
          <ac:graphicFrameMkLst>
            <pc:docMk/>
            <pc:sldMk cId="3372285431" sldId="12942"/>
            <ac:graphicFrameMk id="13" creationId="{2B09FAC8-02DF-17F8-E74E-6BC95030A736}"/>
          </ac:graphicFrameMkLst>
        </pc:graphicFrameChg>
      </pc:sldChg>
      <pc:sldChg chg="del">
        <pc:chgData name="Kamboj, Sandeep" userId="b1434cc5-997d-4115-b984-843629191137" providerId="ADAL" clId="{77B629AB-DDBC-48F2-A337-B4E002DD19CA}" dt="2024-11-28T08:35:00.857" v="0" actId="47"/>
        <pc:sldMkLst>
          <pc:docMk/>
          <pc:sldMk cId="2416165044" sldId="12944"/>
        </pc:sldMkLst>
      </pc:sldChg>
      <pc:sldChg chg="del">
        <pc:chgData name="Kamboj, Sandeep" userId="b1434cc5-997d-4115-b984-843629191137" providerId="ADAL" clId="{77B629AB-DDBC-48F2-A337-B4E002DD19CA}" dt="2024-11-28T08:35:02.909" v="6" actId="47"/>
        <pc:sldMkLst>
          <pc:docMk/>
          <pc:sldMk cId="0" sldId="12945"/>
        </pc:sldMkLst>
      </pc:sldChg>
      <pc:sldChg chg="del">
        <pc:chgData name="Kamboj, Sandeep" userId="b1434cc5-997d-4115-b984-843629191137" providerId="ADAL" clId="{77B629AB-DDBC-48F2-A337-B4E002DD19CA}" dt="2024-11-28T08:35:02.641" v="5" actId="47"/>
        <pc:sldMkLst>
          <pc:docMk/>
          <pc:sldMk cId="3272939279" sldId="12947"/>
        </pc:sldMkLst>
      </pc:sldChg>
      <pc:sldChg chg="add del ord">
        <pc:chgData name="Kamboj, Sandeep" userId="b1434cc5-997d-4115-b984-843629191137" providerId="ADAL" clId="{77B629AB-DDBC-48F2-A337-B4E002DD19CA}" dt="2024-12-03T09:44:47.850" v="1573"/>
        <pc:sldMkLst>
          <pc:docMk/>
          <pc:sldMk cId="2092269945" sldId="2141411161"/>
        </pc:sldMkLst>
      </pc:sldChg>
      <pc:sldChg chg="addSp delSp modSp new del mod chgLayout">
        <pc:chgData name="Kamboj, Sandeep" userId="b1434cc5-997d-4115-b984-843629191137" providerId="ADAL" clId="{77B629AB-DDBC-48F2-A337-B4E002DD19CA}" dt="2024-11-28T10:50:55.677" v="847" actId="47"/>
        <pc:sldMkLst>
          <pc:docMk/>
          <pc:sldMk cId="2424256730" sldId="2141411162"/>
        </pc:sldMkLst>
      </pc:sldChg>
      <pc:sldChg chg="del">
        <pc:chgData name="Kamboj, Sandeep" userId="b1434cc5-997d-4115-b984-843629191137" providerId="ADAL" clId="{77B629AB-DDBC-48F2-A337-B4E002DD19CA}" dt="2024-11-28T08:35:01.842" v="2" actId="47"/>
        <pc:sldMkLst>
          <pc:docMk/>
          <pc:sldMk cId="4022405090" sldId="2141411162"/>
        </pc:sldMkLst>
      </pc:sldChg>
      <pc:sldChg chg="addSp delSp modSp new mod chgLayout">
        <pc:chgData name="Kamboj, Sandeep" userId="b1434cc5-997d-4115-b984-843629191137" providerId="ADAL" clId="{77B629AB-DDBC-48F2-A337-B4E002DD19CA}" dt="2024-11-28T11:50:34.379" v="1214" actId="255"/>
        <pc:sldMkLst>
          <pc:docMk/>
          <pc:sldMk cId="1008242886" sldId="2141411163"/>
        </pc:sldMkLst>
        <pc:spChg chg="add mod ord">
          <ac:chgData name="Kamboj, Sandeep" userId="b1434cc5-997d-4115-b984-843629191137" providerId="ADAL" clId="{77B629AB-DDBC-48F2-A337-B4E002DD19CA}" dt="2024-11-28T09:34:02.179" v="523"/>
          <ac:spMkLst>
            <pc:docMk/>
            <pc:sldMk cId="1008242886" sldId="2141411163"/>
            <ac:spMk id="3" creationId="{4A4919D1-044A-3C73-3683-1D473638FC43}"/>
          </ac:spMkLst>
        </pc:spChg>
        <pc:spChg chg="add mod">
          <ac:chgData name="Kamboj, Sandeep" userId="b1434cc5-997d-4115-b984-843629191137" providerId="ADAL" clId="{77B629AB-DDBC-48F2-A337-B4E002DD19CA}" dt="2024-11-28T11:50:34.379" v="1214" actId="255"/>
          <ac:spMkLst>
            <pc:docMk/>
            <pc:sldMk cId="1008242886" sldId="2141411163"/>
            <ac:spMk id="5" creationId="{A554A226-8510-CC59-94C5-56C7750E4DFE}"/>
          </ac:spMkLst>
        </pc:spChg>
        <pc:picChg chg="add mod">
          <ac:chgData name="Kamboj, Sandeep" userId="b1434cc5-997d-4115-b984-843629191137" providerId="ADAL" clId="{77B629AB-DDBC-48F2-A337-B4E002DD19CA}" dt="2024-11-28T09:42:16.037" v="671" actId="1076"/>
          <ac:picMkLst>
            <pc:docMk/>
            <pc:sldMk cId="1008242886" sldId="2141411163"/>
            <ac:picMk id="7" creationId="{B08503C4-91AA-474D-72C6-0C97985A0F2E}"/>
          </ac:picMkLst>
        </pc:picChg>
      </pc:sldChg>
      <pc:sldChg chg="del">
        <pc:chgData name="Kamboj, Sandeep" userId="b1434cc5-997d-4115-b984-843629191137" providerId="ADAL" clId="{77B629AB-DDBC-48F2-A337-B4E002DD19CA}" dt="2024-11-28T08:35:04.756" v="8" actId="47"/>
        <pc:sldMkLst>
          <pc:docMk/>
          <pc:sldMk cId="1071102174" sldId="2141411163"/>
        </pc:sldMkLst>
      </pc:sldChg>
      <pc:sldChg chg="modSp add del mod">
        <pc:chgData name="Kamboj, Sandeep" userId="b1434cc5-997d-4115-b984-843629191137" providerId="ADAL" clId="{77B629AB-DDBC-48F2-A337-B4E002DD19CA}" dt="2024-11-28T10:50:57.863" v="848" actId="47"/>
        <pc:sldMkLst>
          <pc:docMk/>
          <pc:sldMk cId="2841546707" sldId="2141411164"/>
        </pc:sldMkLst>
      </pc:sldChg>
      <pc:sldChg chg="addSp delSp modSp add mod ord">
        <pc:chgData name="Kamboj, Sandeep" userId="b1434cc5-997d-4115-b984-843629191137" providerId="ADAL" clId="{77B629AB-DDBC-48F2-A337-B4E002DD19CA}" dt="2024-11-28T11:50:29.144" v="1213" actId="255"/>
        <pc:sldMkLst>
          <pc:docMk/>
          <pc:sldMk cId="1248463422" sldId="2141411165"/>
        </pc:sldMkLst>
        <pc:spChg chg="mod">
          <ac:chgData name="Kamboj, Sandeep" userId="b1434cc5-997d-4115-b984-843629191137" providerId="ADAL" clId="{77B629AB-DDBC-48F2-A337-B4E002DD19CA}" dt="2024-11-28T09:43:15.832" v="702" actId="20577"/>
          <ac:spMkLst>
            <pc:docMk/>
            <pc:sldMk cId="1248463422" sldId="2141411165"/>
            <ac:spMk id="3" creationId="{4A4919D1-044A-3C73-3683-1D473638FC43}"/>
          </ac:spMkLst>
        </pc:spChg>
        <pc:spChg chg="mod">
          <ac:chgData name="Kamboj, Sandeep" userId="b1434cc5-997d-4115-b984-843629191137" providerId="ADAL" clId="{77B629AB-DDBC-48F2-A337-B4E002DD19CA}" dt="2024-11-28T11:50:29.144" v="1213" actId="255"/>
          <ac:spMkLst>
            <pc:docMk/>
            <pc:sldMk cId="1248463422" sldId="2141411165"/>
            <ac:spMk id="5" creationId="{A554A226-8510-CC59-94C5-56C7750E4DFE}"/>
          </ac:spMkLst>
        </pc:spChg>
        <pc:picChg chg="add mod">
          <ac:chgData name="Kamboj, Sandeep" userId="b1434cc5-997d-4115-b984-843629191137" providerId="ADAL" clId="{77B629AB-DDBC-48F2-A337-B4E002DD19CA}" dt="2024-11-28T10:35:33.755" v="743"/>
          <ac:picMkLst>
            <pc:docMk/>
            <pc:sldMk cId="1248463422" sldId="2141411165"/>
            <ac:picMk id="10" creationId="{186CAF1E-B4FD-B75B-0422-3A20408B0E72}"/>
          </ac:picMkLst>
        </pc:picChg>
      </pc:sldChg>
      <pc:sldChg chg="addSp delSp modSp new del mod modClrScheme chgLayout">
        <pc:chgData name="Kamboj, Sandeep" userId="b1434cc5-997d-4115-b984-843629191137" providerId="ADAL" clId="{77B629AB-DDBC-48F2-A337-B4E002DD19CA}" dt="2024-12-04T12:40:19.996" v="1618" actId="47"/>
        <pc:sldMkLst>
          <pc:docMk/>
          <pc:sldMk cId="3387533173" sldId="2141411166"/>
        </pc:sldMkLst>
        <pc:spChg chg="mod ord">
          <ac:chgData name="Kamboj, Sandeep" userId="b1434cc5-997d-4115-b984-843629191137" providerId="ADAL" clId="{77B629AB-DDBC-48F2-A337-B4E002DD19CA}" dt="2024-11-28T11:54:36.835" v="1306" actId="1076"/>
          <ac:spMkLst>
            <pc:docMk/>
            <pc:sldMk cId="3387533173" sldId="2141411166"/>
            <ac:spMk id="2" creationId="{3AEE379F-0260-F83F-2FC8-E14D6E302D3E}"/>
          </ac:spMkLst>
        </pc:spChg>
        <pc:spChg chg="add mod ord">
          <ac:chgData name="Kamboj, Sandeep" userId="b1434cc5-997d-4115-b984-843629191137" providerId="ADAL" clId="{77B629AB-DDBC-48F2-A337-B4E002DD19CA}" dt="2024-11-28T11:55:17.552" v="1326" actId="12"/>
          <ac:spMkLst>
            <pc:docMk/>
            <pc:sldMk cId="3387533173" sldId="2141411166"/>
            <ac:spMk id="7" creationId="{2B0A1D58-18DA-A43B-D398-D3AFE437992B}"/>
          </ac:spMkLst>
        </pc:spChg>
      </pc:sldChg>
      <pc:sldChg chg="modSp mod">
        <pc:chgData name="Kamboj, Sandeep" userId="b1434cc5-997d-4115-b984-843629191137" providerId="ADAL" clId="{77B629AB-DDBC-48F2-A337-B4E002DD19CA}" dt="2024-12-02T12:32:54.517" v="1476" actId="20577"/>
        <pc:sldMkLst>
          <pc:docMk/>
          <pc:sldMk cId="705887743" sldId="2141411167"/>
        </pc:sldMkLst>
        <pc:spChg chg="mod">
          <ac:chgData name="Kamboj, Sandeep" userId="b1434cc5-997d-4115-b984-843629191137" providerId="ADAL" clId="{77B629AB-DDBC-48F2-A337-B4E002DD19CA}" dt="2024-12-02T12:32:54.517" v="1476" actId="20577"/>
          <ac:spMkLst>
            <pc:docMk/>
            <pc:sldMk cId="705887743" sldId="2141411167"/>
            <ac:spMk id="7" creationId="{5853AA08-F1D5-EC49-97EC-8A66AE278B3F}"/>
          </ac:spMkLst>
        </pc:spChg>
      </pc:sldChg>
      <pc:sldChg chg="modSp del mod">
        <pc:chgData name="Kamboj, Sandeep" userId="b1434cc5-997d-4115-b984-843629191137" providerId="ADAL" clId="{77B629AB-DDBC-48F2-A337-B4E002DD19CA}" dt="2024-12-04T12:40:19.996" v="1618" actId="47"/>
        <pc:sldMkLst>
          <pc:docMk/>
          <pc:sldMk cId="792656175" sldId="2141411168"/>
        </pc:sldMkLst>
        <pc:spChg chg="mod">
          <ac:chgData name="Kamboj, Sandeep" userId="b1434cc5-997d-4115-b984-843629191137" providerId="ADAL" clId="{77B629AB-DDBC-48F2-A337-B4E002DD19CA}" dt="2024-12-02T12:43:40.413" v="1498" actId="20577"/>
          <ac:spMkLst>
            <pc:docMk/>
            <pc:sldMk cId="792656175" sldId="2141411168"/>
            <ac:spMk id="29" creationId="{37B459C1-1E15-450E-9DF0-4FCF52ECC185}"/>
          </ac:spMkLst>
        </pc:spChg>
      </pc:sldChg>
      <pc:sldChg chg="modSp mod">
        <pc:chgData name="Kamboj, Sandeep" userId="b1434cc5-997d-4115-b984-843629191137" providerId="ADAL" clId="{77B629AB-DDBC-48F2-A337-B4E002DD19CA}" dt="2024-12-03T15:20:31.133" v="1617" actId="1076"/>
        <pc:sldMkLst>
          <pc:docMk/>
          <pc:sldMk cId="1785708299" sldId="2147470195"/>
        </pc:sldMkLst>
        <pc:spChg chg="mod">
          <ac:chgData name="Kamboj, Sandeep" userId="b1434cc5-997d-4115-b984-843629191137" providerId="ADAL" clId="{77B629AB-DDBC-48F2-A337-B4E002DD19CA}" dt="2024-12-03T10:28:22.734" v="1595" actId="20577"/>
          <ac:spMkLst>
            <pc:docMk/>
            <pc:sldMk cId="1785708299" sldId="2147470195"/>
            <ac:spMk id="2" creationId="{5E9B417D-F532-4CDC-BDA3-3016616DB01A}"/>
          </ac:spMkLst>
        </pc:spChg>
        <pc:spChg chg="mod">
          <ac:chgData name="Kamboj, Sandeep" userId="b1434cc5-997d-4115-b984-843629191137" providerId="ADAL" clId="{77B629AB-DDBC-48F2-A337-B4E002DD19CA}" dt="2024-12-03T15:20:31.133" v="1617" actId="1076"/>
          <ac:spMkLst>
            <pc:docMk/>
            <pc:sldMk cId="1785708299" sldId="2147470195"/>
            <ac:spMk id="5" creationId="{4BC08B22-EDFB-4888-8C3F-F3E3331DEB40}"/>
          </ac:spMkLst>
        </pc:spChg>
        <pc:spChg chg="mod">
          <ac:chgData name="Kamboj, Sandeep" userId="b1434cc5-997d-4115-b984-843629191137" providerId="ADAL" clId="{77B629AB-DDBC-48F2-A337-B4E002DD19CA}" dt="2024-12-03T10:33:35.902" v="1615" actId="20577"/>
          <ac:spMkLst>
            <pc:docMk/>
            <pc:sldMk cId="1785708299" sldId="2147470195"/>
            <ac:spMk id="20" creationId="{5F3FC854-9CC8-4A29-A2C6-E749432B089D}"/>
          </ac:spMkLst>
        </pc:spChg>
        <pc:spChg chg="mod">
          <ac:chgData name="Kamboj, Sandeep" userId="b1434cc5-997d-4115-b984-843629191137" providerId="ADAL" clId="{77B629AB-DDBC-48F2-A337-B4E002DD19CA}" dt="2024-12-03T10:33:09.901" v="1597" actId="20577"/>
          <ac:spMkLst>
            <pc:docMk/>
            <pc:sldMk cId="1785708299" sldId="2147470195"/>
            <ac:spMk id="23" creationId="{C70B2ED0-2D34-432B-9B21-2E9F2A7097E4}"/>
          </ac:spMkLst>
        </pc:spChg>
        <pc:spChg chg="mod">
          <ac:chgData name="Kamboj, Sandeep" userId="b1434cc5-997d-4115-b984-843629191137" providerId="ADAL" clId="{77B629AB-DDBC-48F2-A337-B4E002DD19CA}" dt="2024-12-03T10:33:13.722" v="1599" actId="5793"/>
          <ac:spMkLst>
            <pc:docMk/>
            <pc:sldMk cId="1785708299" sldId="2147470195"/>
            <ac:spMk id="24" creationId="{283E9139-502A-4E95-BD4B-7607E36D4315}"/>
          </ac:spMkLst>
        </pc:spChg>
      </pc:sldChg>
      <pc:sldChg chg="delSp modSp add mod">
        <pc:chgData name="Kamboj, Sandeep" userId="b1434cc5-997d-4115-b984-843629191137" providerId="ADAL" clId="{77B629AB-DDBC-48F2-A337-B4E002DD19CA}" dt="2024-12-03T09:36:07.388" v="1566" actId="20577"/>
        <pc:sldMkLst>
          <pc:docMk/>
          <pc:sldMk cId="904112109" sldId="2147472851"/>
        </pc:sldMkLst>
        <pc:spChg chg="del mod">
          <ac:chgData name="Kamboj, Sandeep" userId="b1434cc5-997d-4115-b984-843629191137" providerId="ADAL" clId="{77B629AB-DDBC-48F2-A337-B4E002DD19CA}" dt="2024-12-02T12:25:09.002" v="1433" actId="478"/>
          <ac:spMkLst>
            <pc:docMk/>
            <pc:sldMk cId="904112109" sldId="2147472851"/>
            <ac:spMk id="2" creationId="{4D5571DD-3537-939C-3832-2E4411547FCB}"/>
          </ac:spMkLst>
        </pc:spChg>
        <pc:spChg chg="mod">
          <ac:chgData name="Kamboj, Sandeep" userId="b1434cc5-997d-4115-b984-843629191137" providerId="ADAL" clId="{77B629AB-DDBC-48F2-A337-B4E002DD19CA}" dt="2024-12-03T09:36:07.388" v="1566" actId="20577"/>
          <ac:spMkLst>
            <pc:docMk/>
            <pc:sldMk cId="904112109" sldId="2147472851"/>
            <ac:spMk id="3" creationId="{AE16D031-CB0F-842D-58F2-D64136BA2924}"/>
          </ac:spMkLst>
        </pc:spChg>
        <pc:spChg chg="mod">
          <ac:chgData name="Kamboj, Sandeep" userId="b1434cc5-997d-4115-b984-843629191137" providerId="ADAL" clId="{77B629AB-DDBC-48F2-A337-B4E002DD19CA}" dt="2024-12-02T11:43:29.357" v="1428" actId="20577"/>
          <ac:spMkLst>
            <pc:docMk/>
            <pc:sldMk cId="904112109" sldId="2147472851"/>
            <ac:spMk id="4" creationId="{6597ED4D-85CB-40C4-F8A4-28C4AED5922F}"/>
          </ac:spMkLst>
        </pc:spChg>
      </pc:sldChg>
      <pc:sldMasterChg chg="addSldLayout delSldLayout">
        <pc:chgData name="Kamboj, Sandeep" userId="b1434cc5-997d-4115-b984-843629191137" providerId="ADAL" clId="{77B629AB-DDBC-48F2-A337-B4E002DD19CA}" dt="2024-12-02T12:32:36.238" v="1444" actId="47"/>
        <pc:sldMasterMkLst>
          <pc:docMk/>
          <pc:sldMasterMk cId="1987436075" sldId="2147484233"/>
        </pc:sldMasterMkLst>
        <pc:sldLayoutChg chg="del">
          <pc:chgData name="Kamboj, Sandeep" userId="b1434cc5-997d-4115-b984-843629191137" providerId="ADAL" clId="{77B629AB-DDBC-48F2-A337-B4E002DD19CA}" dt="2024-11-28T08:35:04.756" v="8" actId="47"/>
          <pc:sldLayoutMkLst>
            <pc:docMk/>
            <pc:sldMasterMk cId="1987436075" sldId="2147484233"/>
            <pc:sldLayoutMk cId="2279094303" sldId="2147484262"/>
          </pc:sldLayoutMkLst>
        </pc:sldLayoutChg>
        <pc:sldLayoutChg chg="add del">
          <pc:chgData name="Kamboj, Sandeep" userId="b1434cc5-997d-4115-b984-843629191137" providerId="ADAL" clId="{77B629AB-DDBC-48F2-A337-B4E002DD19CA}" dt="2024-12-02T12:32:36.238" v="1444" actId="47"/>
          <pc:sldLayoutMkLst>
            <pc:docMk/>
            <pc:sldMasterMk cId="1987436075" sldId="2147484233"/>
            <pc:sldLayoutMk cId="3498429970" sldId="2147484262"/>
          </pc:sldLayoutMkLst>
        </pc:sldLayoutChg>
        <pc:sldLayoutChg chg="del">
          <pc:chgData name="Kamboj, Sandeep" userId="b1434cc5-997d-4115-b984-843629191137" providerId="ADAL" clId="{77B629AB-DDBC-48F2-A337-B4E002DD19CA}" dt="2024-11-28T08:35:02.909" v="6" actId="47"/>
          <pc:sldLayoutMkLst>
            <pc:docMk/>
            <pc:sldMasterMk cId="1987436075" sldId="2147484233"/>
            <pc:sldLayoutMk cId="189975400" sldId="2147484263"/>
          </pc:sldLayoutMkLst>
        </pc:sldLayoutChg>
        <pc:sldLayoutChg chg="del">
          <pc:chgData name="Kamboj, Sandeep" userId="b1434cc5-997d-4115-b984-843629191137" providerId="ADAL" clId="{77B629AB-DDBC-48F2-A337-B4E002DD19CA}" dt="2024-11-28T08:35:00.857" v="0" actId="47"/>
          <pc:sldLayoutMkLst>
            <pc:docMk/>
            <pc:sldMasterMk cId="1987436075" sldId="2147484233"/>
            <pc:sldLayoutMk cId="364819694" sldId="2147484264"/>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12/4/2024</a:t>
            </a:fld>
            <a:endParaRPr lang="en-US" sz="1000" i="1"/>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12/4/2024</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1</a:t>
            </a:fld>
            <a:endParaRPr lang="en-US"/>
          </a:p>
        </p:txBody>
      </p:sp>
    </p:spTree>
    <p:extLst>
      <p:ext uri="{BB962C8B-B14F-4D97-AF65-F5344CB8AC3E}">
        <p14:creationId xmlns:p14="http://schemas.microsoft.com/office/powerpoint/2010/main" val="2264845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7</a:t>
            </a:fld>
            <a:endParaRPr lang="en-US"/>
          </a:p>
        </p:txBody>
      </p:sp>
    </p:spTree>
    <p:extLst>
      <p:ext uri="{BB962C8B-B14F-4D97-AF65-F5344CB8AC3E}">
        <p14:creationId xmlns:p14="http://schemas.microsoft.com/office/powerpoint/2010/main" val="26950588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959CA0"/>
                </a:solidFill>
                <a:ea typeface="Arial" charset="0"/>
                <a:cs typeface="Arial" charset="0"/>
              </a:rPr>
              <a:t>© 2021. All rights reserved. IQVIA</a:t>
            </a:r>
            <a:r>
              <a:rPr lang="en-US" sz="800" baseline="30000">
                <a:solidFill>
                  <a:srgbClr val="959CA0"/>
                </a:solidFill>
                <a:ea typeface="Arial" charset="0"/>
                <a:cs typeface="Arial" charset="0"/>
              </a:rPr>
              <a:t>®</a:t>
            </a:r>
            <a:r>
              <a:rPr lang="en-US" sz="800">
                <a:solidFill>
                  <a:srgbClr val="959CA0"/>
                </a:solidFill>
                <a:ea typeface="Arial" charset="0"/>
                <a:cs typeface="Arial" charset="0"/>
              </a:rPr>
              <a:t> is a registered trademark of IQVIA Inc. in the United States, the European Union, and various other countries. </a:t>
            </a:r>
            <a:endParaRPr lang="en-US"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spTree>
    <p:extLst>
      <p:ext uri="{BB962C8B-B14F-4D97-AF65-F5344CB8AC3E}">
        <p14:creationId xmlns:p14="http://schemas.microsoft.com/office/powerpoint/2010/main" val="18011233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1.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01371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45361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extLst>
      <p:ext uri="{BB962C8B-B14F-4D97-AF65-F5344CB8AC3E}">
        <p14:creationId xmlns:p14="http://schemas.microsoft.com/office/powerpoint/2010/main" val="1648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E85BE28-1C3E-4A79-9B84-3BC2D0438DD8}"/>
              </a:ext>
            </a:extLst>
          </p:cNvPr>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84" name="Group 83">
            <a:extLst>
              <a:ext uri="{FF2B5EF4-FFF2-40B4-BE49-F238E27FC236}">
                <a16:creationId xmlns:a16="http://schemas.microsoft.com/office/drawing/2014/main" id="{B2BC05FF-F7B1-2643-B9FF-FE7362631CA8}"/>
              </a:ext>
            </a:extLst>
          </p:cNvPr>
          <p:cNvGrpSpPr/>
          <p:nvPr/>
        </p:nvGrpSpPr>
        <p:grpSpPr>
          <a:xfrm>
            <a:off x="7036244" y="2752016"/>
            <a:ext cx="5155756" cy="3703320"/>
            <a:chOff x="7036244" y="2752016"/>
            <a:chExt cx="5155756" cy="3703320"/>
          </a:xfrm>
          <a:solidFill>
            <a:schemeClr val="accent1"/>
          </a:solidFill>
        </p:grpSpPr>
        <p:sp>
          <p:nvSpPr>
            <p:cNvPr id="85" name="Freeform 84">
              <a:extLst>
                <a:ext uri="{FF2B5EF4-FFF2-40B4-BE49-F238E27FC236}">
                  <a16:creationId xmlns:a16="http://schemas.microsoft.com/office/drawing/2014/main" id="{54AF320E-9B8F-3143-935B-C21387DC95B0}"/>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6" name="Freeform 85">
              <a:extLst>
                <a:ext uri="{FF2B5EF4-FFF2-40B4-BE49-F238E27FC236}">
                  <a16:creationId xmlns:a16="http://schemas.microsoft.com/office/drawing/2014/main" id="{4B250C1E-384C-5A4D-B493-4F16109AFBFE}"/>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7" name="Freeform 86">
              <a:extLst>
                <a:ext uri="{FF2B5EF4-FFF2-40B4-BE49-F238E27FC236}">
                  <a16:creationId xmlns:a16="http://schemas.microsoft.com/office/drawing/2014/main" id="{5A2F5A00-A48E-1A46-9393-ED80FF031B14}"/>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Freeform 87">
              <a:extLst>
                <a:ext uri="{FF2B5EF4-FFF2-40B4-BE49-F238E27FC236}">
                  <a16:creationId xmlns:a16="http://schemas.microsoft.com/office/drawing/2014/main" id="{796862EF-B16A-7B49-B5EF-1F789A62F17C}"/>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2" name="Text Placeholder 3">
            <a:extLst>
              <a:ext uri="{FF2B5EF4-FFF2-40B4-BE49-F238E27FC236}">
                <a16:creationId xmlns:a16="http://schemas.microsoft.com/office/drawing/2014/main" id="{43B517CD-81B5-1241-9C7C-2B8168938CD4}"/>
              </a:ext>
            </a:extLst>
          </p:cNvPr>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a:t>— Attribution Line</a:t>
            </a:r>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0" i="0" baseline="0">
                <a:solidFill>
                  <a:schemeClr val="accent2"/>
                </a:solidFill>
              </a:defRPr>
            </a:lvl1pPr>
          </a:lstStyle>
          <a:p>
            <a:r>
              <a:rPr lang="en-US"/>
              <a:t>Place quote here in 32pt Arial sentence case with quote attribution. Up to 6 lines of text can be used.”</a:t>
            </a:r>
          </a:p>
        </p:txBody>
      </p:sp>
      <p:sp>
        <p:nvSpPr>
          <p:cNvPr id="75" name="TextBox 74">
            <a:extLst>
              <a:ext uri="{FF2B5EF4-FFF2-40B4-BE49-F238E27FC236}">
                <a16:creationId xmlns:a16="http://schemas.microsoft.com/office/drawing/2014/main" id="{6A04865E-13FE-4711-97A9-D413EE17A679}"/>
              </a:ext>
            </a:extLst>
          </p:cNvPr>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 fmla="*/ 0 w 937240"/>
              <a:gd name="connsiteY0" fmla="*/ 0 h 1862048"/>
              <a:gd name="connsiteX1" fmla="*/ 937240 w 937240"/>
              <a:gd name="connsiteY1" fmla="*/ 0 h 1862048"/>
              <a:gd name="connsiteX2" fmla="*/ 698700 w 937240"/>
              <a:gd name="connsiteY2" fmla="*/ 1225944 h 1862048"/>
              <a:gd name="connsiteX3" fmla="*/ 0 w 937240"/>
              <a:gd name="connsiteY3" fmla="*/ 1862048 h 1862048"/>
              <a:gd name="connsiteX4" fmla="*/ 0 w 937240"/>
              <a:gd name="connsiteY4" fmla="*/ 0 h 1862048"/>
              <a:gd name="connsiteX0" fmla="*/ 0 w 937240"/>
              <a:gd name="connsiteY0" fmla="*/ 0 h 1225944"/>
              <a:gd name="connsiteX1" fmla="*/ 937240 w 937240"/>
              <a:gd name="connsiteY1" fmla="*/ 0 h 1225944"/>
              <a:gd name="connsiteX2" fmla="*/ 698700 w 937240"/>
              <a:gd name="connsiteY2" fmla="*/ 1225944 h 1225944"/>
              <a:gd name="connsiteX3" fmla="*/ 53009 w 937240"/>
              <a:gd name="connsiteY3" fmla="*/ 960901 h 1225944"/>
              <a:gd name="connsiteX4" fmla="*/ 0 w 937240"/>
              <a:gd name="connsiteY4" fmla="*/ 0 h 1225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a:solidFill>
                  <a:schemeClr val="accent2"/>
                </a:solidFill>
                <a:latin typeface="Arial" panose="020B0604020202020204" pitchFamily="34" charset="0"/>
                <a:cs typeface="Arial" panose="020B0604020202020204" pitchFamily="34" charset="0"/>
              </a:rPr>
              <a:t>“</a:t>
            </a:r>
          </a:p>
        </p:txBody>
      </p:sp>
      <p:sp>
        <p:nvSpPr>
          <p:cNvPr id="65" name="Footer Placeholder 4">
            <a:extLst>
              <a:ext uri="{FF2B5EF4-FFF2-40B4-BE49-F238E27FC236}">
                <a16:creationId xmlns:a16="http://schemas.microsoft.com/office/drawing/2014/main" id="{2B5EAC86-5955-6C44-B473-E9638CE45BEE}"/>
              </a:ext>
            </a:extLst>
          </p:cNvPr>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66" name="Slide Number Placeholder 5">
            <a:extLst>
              <a:ext uri="{FF2B5EF4-FFF2-40B4-BE49-F238E27FC236}">
                <a16:creationId xmlns:a16="http://schemas.microsoft.com/office/drawing/2014/main" id="{0B8041C5-D44C-8F4A-BD08-5435D5173B91}"/>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t>‹#›</a:t>
            </a:fld>
            <a:endParaRPr lang="en-US" sz="800" b="0">
              <a:solidFill>
                <a:srgbClr val="7F7F7F"/>
              </a:solidFill>
            </a:endParaRPr>
          </a:p>
        </p:txBody>
      </p:sp>
      <p:pic>
        <p:nvPicPr>
          <p:cNvPr id="15" name="Graphic 14">
            <a:extLst>
              <a:ext uri="{FF2B5EF4-FFF2-40B4-BE49-F238E27FC236}">
                <a16:creationId xmlns:a16="http://schemas.microsoft.com/office/drawing/2014/main" id="{5676FBE2-B43F-5C47-8389-AD3C99D975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2452782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US"/>
              <a:t>Thought slides are 36pt </a:t>
            </a:r>
            <a:br>
              <a:rPr lang="en-US"/>
            </a:br>
            <a:r>
              <a:rPr lang="en-US"/>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Tree>
    <p:extLst>
      <p:ext uri="{BB962C8B-B14F-4D97-AF65-F5344CB8AC3E}">
        <p14:creationId xmlns:p14="http://schemas.microsoft.com/office/powerpoint/2010/main" val="42191671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a:t>Arial 24pt bullet level 1</a:t>
            </a:r>
          </a:p>
          <a:p>
            <a:pPr lvl="1"/>
            <a:r>
              <a:rPr lang="en-US"/>
              <a:t>Arial 24pt bullet level 2</a:t>
            </a:r>
          </a:p>
          <a:p>
            <a:pPr lvl="2"/>
            <a:r>
              <a:rPr lang="en-US"/>
              <a:t>Arial 24pt bullet level 3</a:t>
            </a:r>
          </a:p>
          <a:p>
            <a:pPr lvl="3"/>
            <a:r>
              <a:rPr lang="en-US"/>
              <a:t>Arial 24pt bullet level 4</a:t>
            </a:r>
          </a:p>
          <a:p>
            <a:pPr lvl="4"/>
            <a:r>
              <a:rPr lang="en-US"/>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661384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23689470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A1D794"/>
                </a:solidFill>
                <a:ea typeface="Arial" charset="0"/>
                <a:cs typeface="Arial" charset="0"/>
              </a:rPr>
              <a:t>© 2021. All rights reserved. IQVIA</a:t>
            </a:r>
            <a:r>
              <a:rPr lang="en-US" sz="800" baseline="30000">
                <a:solidFill>
                  <a:srgbClr val="A1D794"/>
                </a:solidFill>
                <a:ea typeface="Arial" charset="0"/>
                <a:cs typeface="Arial" charset="0"/>
              </a:rPr>
              <a:t>®</a:t>
            </a:r>
            <a:r>
              <a:rPr lang="en-US" sz="800">
                <a:solidFill>
                  <a:srgbClr val="A1D794"/>
                </a:solidFill>
                <a:ea typeface="Arial" charset="0"/>
                <a:cs typeface="Arial" charset="0"/>
              </a:rPr>
              <a:t> is a registered trademark of IQVIA Inc. in the United States, the European Union, and various other countries. </a:t>
            </a:r>
            <a:endParaRPr lang="en-US" sz="800" kern="1200">
              <a:solidFill>
                <a:srgbClr val="A1D794"/>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4"/>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4D06917E-3E0E-6D47-9181-57DC0B9695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597332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1.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4A43F6D9-2B76-4F47-8BB1-588F5D046A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642173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1.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4" name="Text Placeholder 21">
            <a:extLst>
              <a:ext uri="{FF2B5EF4-FFF2-40B4-BE49-F238E27FC236}">
                <a16:creationId xmlns:a16="http://schemas.microsoft.com/office/drawing/2014/main" id="{E5C45F24-760D-4806-80BF-4B954EEA03A3}"/>
              </a:ext>
            </a:extLst>
          </p:cNvPr>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grpSp>
        <p:nvGrpSpPr>
          <p:cNvPr id="39" name="Group 38">
            <a:extLst>
              <a:ext uri="{FF2B5EF4-FFF2-40B4-BE49-F238E27FC236}">
                <a16:creationId xmlns:a16="http://schemas.microsoft.com/office/drawing/2014/main" id="{39C359E7-88C6-42D4-9B64-F7D5FE9CDBC5}"/>
              </a:ext>
            </a:extLst>
          </p:cNvPr>
          <p:cNvGrpSpPr/>
          <p:nvPr/>
        </p:nvGrpSpPr>
        <p:grpSpPr>
          <a:xfrm>
            <a:off x="9941531" y="3804028"/>
            <a:ext cx="2250469" cy="2651308"/>
            <a:chOff x="9941531" y="3804028"/>
            <a:chExt cx="2250469" cy="2651308"/>
          </a:xfrm>
        </p:grpSpPr>
        <p:sp>
          <p:nvSpPr>
            <p:cNvPr id="40" name="Freeform: Shape 39">
              <a:extLst>
                <a:ext uri="{FF2B5EF4-FFF2-40B4-BE49-F238E27FC236}">
                  <a16:creationId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1" name="Freeform: Shape 40">
              <a:extLst>
                <a:ext uri="{FF2B5EF4-FFF2-40B4-BE49-F238E27FC236}">
                  <a16:creationId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2" name="Freeform: Shape 41">
              <a:extLst>
                <a:ext uri="{FF2B5EF4-FFF2-40B4-BE49-F238E27FC236}">
                  <a16:creationId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pic>
        <p:nvPicPr>
          <p:cNvPr id="19" name="Graphic 18">
            <a:extLst>
              <a:ext uri="{FF2B5EF4-FFF2-40B4-BE49-F238E27FC236}">
                <a16:creationId xmlns:a16="http://schemas.microsoft.com/office/drawing/2014/main" id="{EFFBAF58-7775-B441-95B2-60BAEE6306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018074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2.1.0)</a:t>
            </a:r>
            <a:endParaRPr lang="en-US" sz="1000" kern="1200">
              <a:solidFill>
                <a:schemeClr val="bg1">
                  <a:lumMod val="50000"/>
                </a:schemeClr>
              </a:solidFill>
              <a:latin typeface="+mn-lt"/>
              <a:ea typeface="Arial" charset="0"/>
              <a:cs typeface="Arial" charset="0"/>
            </a:endParaRPr>
          </a:p>
        </p:txBody>
      </p:sp>
      <p:grpSp>
        <p:nvGrpSpPr>
          <p:cNvPr id="4" name="Group 3">
            <a:extLst>
              <a:ext uri="{FF2B5EF4-FFF2-40B4-BE49-F238E27FC236}">
                <a16:creationId xmlns:a16="http://schemas.microsoft.com/office/drawing/2014/main" id="{B907A176-04FF-4600-9428-258A4B331C28}"/>
              </a:ext>
            </a:extLst>
          </p:cNvPr>
          <p:cNvGrpSpPr/>
          <p:nvPr userDrawn="1"/>
        </p:nvGrpSpPr>
        <p:grpSpPr>
          <a:xfrm>
            <a:off x="12308084" y="0"/>
            <a:ext cx="851744" cy="3047787"/>
            <a:chOff x="12233656" y="25480"/>
            <a:chExt cx="851744" cy="3047787"/>
          </a:xfrm>
        </p:grpSpPr>
        <p:sp>
          <p:nvSpPr>
            <p:cNvPr id="46" name="Rectangle 45">
              <a:extLst>
                <a:ext uri="{FF2B5EF4-FFF2-40B4-BE49-F238E27FC236}">
                  <a16:creationId xmlns:a16="http://schemas.microsoft.com/office/drawing/2014/main" id="{B6790172-6CDB-486B-8C9C-5719F944A1E5}"/>
                </a:ext>
              </a:extLst>
            </p:cNvPr>
            <p:cNvSpPr/>
            <p:nvPr/>
          </p:nvSpPr>
          <p:spPr bwMode="gray">
            <a:xfrm>
              <a:off x="12233656" y="2584077"/>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7" name="Rectangle 46">
              <a:extLst>
                <a:ext uri="{FF2B5EF4-FFF2-40B4-BE49-F238E27FC236}">
                  <a16:creationId xmlns:a16="http://schemas.microsoft.com/office/drawing/2014/main" id="{E34110EB-1D9F-40AA-85D6-0DCE03E31FF6}"/>
                </a:ext>
              </a:extLst>
            </p:cNvPr>
            <p:cNvSpPr/>
            <p:nvPr/>
          </p:nvSpPr>
          <p:spPr bwMode="gray">
            <a:xfrm>
              <a:off x="12676696" y="2584077"/>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8" name="Rectangle 47">
              <a:extLst>
                <a:ext uri="{FF2B5EF4-FFF2-40B4-BE49-F238E27FC236}">
                  <a16:creationId xmlns:a16="http://schemas.microsoft.com/office/drawing/2014/main" id="{84C9A453-AE8F-4383-BD8F-32DA97D7AAF2}"/>
                </a:ext>
              </a:extLst>
            </p:cNvPr>
            <p:cNvSpPr/>
            <p:nvPr/>
          </p:nvSpPr>
          <p:spPr bwMode="gray">
            <a:xfrm>
              <a:off x="12898215" y="2584077"/>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9" name="Rectangle 48">
              <a:extLst>
                <a:ext uri="{FF2B5EF4-FFF2-40B4-BE49-F238E27FC236}">
                  <a16:creationId xmlns:a16="http://schemas.microsoft.com/office/drawing/2014/main" id="{9E0FF7AE-5FC0-4FE9-B824-B5FD9D591486}"/>
                </a:ext>
              </a:extLst>
            </p:cNvPr>
            <p:cNvSpPr/>
            <p:nvPr/>
          </p:nvSpPr>
          <p:spPr bwMode="gray">
            <a:xfrm>
              <a:off x="12455176" y="2584077"/>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0" name="Rectangle 49">
              <a:extLst>
                <a:ext uri="{FF2B5EF4-FFF2-40B4-BE49-F238E27FC236}">
                  <a16:creationId xmlns:a16="http://schemas.microsoft.com/office/drawing/2014/main" id="{F0DA3666-914B-4B70-9285-AC745AC36DD8}"/>
                </a:ext>
              </a:extLst>
            </p:cNvPr>
            <p:cNvSpPr/>
            <p:nvPr/>
          </p:nvSpPr>
          <p:spPr bwMode="gray">
            <a:xfrm>
              <a:off x="12233656" y="1976453"/>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1" name="Rectangle 50">
              <a:extLst>
                <a:ext uri="{FF2B5EF4-FFF2-40B4-BE49-F238E27FC236}">
                  <a16:creationId xmlns:a16="http://schemas.microsoft.com/office/drawing/2014/main" id="{B5BBD6E4-2C3A-4BDE-91DF-83D595CE5D83}"/>
                </a:ext>
              </a:extLst>
            </p:cNvPr>
            <p:cNvSpPr/>
            <p:nvPr/>
          </p:nvSpPr>
          <p:spPr bwMode="gray">
            <a:xfrm>
              <a:off x="12233656" y="2282071"/>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2" name="Rectangle 51">
              <a:extLst>
                <a:ext uri="{FF2B5EF4-FFF2-40B4-BE49-F238E27FC236}">
                  <a16:creationId xmlns:a16="http://schemas.microsoft.com/office/drawing/2014/main" id="{1EA34AC5-EFC7-4238-82A2-6B301C2DDE12}"/>
                </a:ext>
              </a:extLst>
            </p:cNvPr>
            <p:cNvSpPr/>
            <p:nvPr/>
          </p:nvSpPr>
          <p:spPr bwMode="gray">
            <a:xfrm>
              <a:off x="12455176" y="1976453"/>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3" name="Rectangle 52">
              <a:extLst>
                <a:ext uri="{FF2B5EF4-FFF2-40B4-BE49-F238E27FC236}">
                  <a16:creationId xmlns:a16="http://schemas.microsoft.com/office/drawing/2014/main" id="{9C959C79-B003-4C43-BB55-D824D8433590}"/>
                </a:ext>
              </a:extLst>
            </p:cNvPr>
            <p:cNvSpPr/>
            <p:nvPr/>
          </p:nvSpPr>
          <p:spPr bwMode="gray">
            <a:xfrm>
              <a:off x="12676696" y="1976453"/>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4" name="Rectangle 53">
              <a:extLst>
                <a:ext uri="{FF2B5EF4-FFF2-40B4-BE49-F238E27FC236}">
                  <a16:creationId xmlns:a16="http://schemas.microsoft.com/office/drawing/2014/main" id="{2E2F109A-F3DB-4DF0-AE2F-90C6EA4CAB56}"/>
                </a:ext>
              </a:extLst>
            </p:cNvPr>
            <p:cNvSpPr/>
            <p:nvPr/>
          </p:nvSpPr>
          <p:spPr bwMode="gray">
            <a:xfrm>
              <a:off x="12898216" y="1976453"/>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5" name="TextBox 54">
              <a:extLst>
                <a:ext uri="{FF2B5EF4-FFF2-40B4-BE49-F238E27FC236}">
                  <a16:creationId xmlns:a16="http://schemas.microsoft.com/office/drawing/2014/main" id="{3A61E298-EB0A-4E17-BD09-A9BCC2649A12}"/>
                </a:ext>
              </a:extLst>
            </p:cNvPr>
            <p:cNvSpPr txBox="1"/>
            <p:nvPr/>
          </p:nvSpPr>
          <p:spPr>
            <a:xfrm>
              <a:off x="12233656" y="25480"/>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56" name="Rectangle 55">
              <a:extLst>
                <a:ext uri="{FF2B5EF4-FFF2-40B4-BE49-F238E27FC236}">
                  <a16:creationId xmlns:a16="http://schemas.microsoft.com/office/drawing/2014/main" id="{4705AA33-EE2E-4E4E-B109-36E236936840}"/>
                </a:ext>
              </a:extLst>
            </p:cNvPr>
            <p:cNvSpPr/>
            <p:nvPr/>
          </p:nvSpPr>
          <p:spPr bwMode="gray">
            <a:xfrm>
              <a:off x="12233656" y="2886083"/>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8" name="Rectangle 57">
              <a:extLst>
                <a:ext uri="{FF2B5EF4-FFF2-40B4-BE49-F238E27FC236}">
                  <a16:creationId xmlns:a16="http://schemas.microsoft.com/office/drawing/2014/main" id="{5EEC58DC-2F2B-4BE2-B67F-07B125678C34}"/>
                </a:ext>
              </a:extLst>
            </p:cNvPr>
            <p:cNvSpPr/>
            <p:nvPr userDrawn="1"/>
          </p:nvSpPr>
          <p:spPr bwMode="gray">
            <a:xfrm>
              <a:off x="12233656" y="1765158"/>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9" name="Rectangle 58">
              <a:extLst>
                <a:ext uri="{FF2B5EF4-FFF2-40B4-BE49-F238E27FC236}">
                  <a16:creationId xmlns:a16="http://schemas.microsoft.com/office/drawing/2014/main" id="{8549ADF4-EEA9-43D1-8A2A-133C45DB1862}"/>
                </a:ext>
              </a:extLst>
            </p:cNvPr>
            <p:cNvSpPr/>
            <p:nvPr userDrawn="1"/>
          </p:nvSpPr>
          <p:spPr bwMode="gray">
            <a:xfrm>
              <a:off x="12455176" y="1765158"/>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0" name="Rectangle 59">
              <a:extLst>
                <a:ext uri="{FF2B5EF4-FFF2-40B4-BE49-F238E27FC236}">
                  <a16:creationId xmlns:a16="http://schemas.microsoft.com/office/drawing/2014/main" id="{30543385-700D-4FD3-9403-942A7816AFF3}"/>
                </a:ext>
              </a:extLst>
            </p:cNvPr>
            <p:cNvSpPr/>
            <p:nvPr userDrawn="1"/>
          </p:nvSpPr>
          <p:spPr bwMode="gray">
            <a:xfrm>
              <a:off x="12676696" y="1765158"/>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1" name="Rectangle 60">
              <a:extLst>
                <a:ext uri="{FF2B5EF4-FFF2-40B4-BE49-F238E27FC236}">
                  <a16:creationId xmlns:a16="http://schemas.microsoft.com/office/drawing/2014/main" id="{53C64855-B6D7-406E-A904-38AA3CAC33D1}"/>
                </a:ext>
              </a:extLst>
            </p:cNvPr>
            <p:cNvSpPr/>
            <p:nvPr userDrawn="1"/>
          </p:nvSpPr>
          <p:spPr bwMode="gray">
            <a:xfrm>
              <a:off x="12898216" y="1765158"/>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74" name="Rectangle 73">
              <a:extLst>
                <a:ext uri="{FF2B5EF4-FFF2-40B4-BE49-F238E27FC236}">
                  <a16:creationId xmlns:a16="http://schemas.microsoft.com/office/drawing/2014/main" id="{F1671D4E-C545-4A51-AD54-465B655DA739}"/>
                </a:ext>
              </a:extLst>
            </p:cNvPr>
            <p:cNvSpPr/>
            <p:nvPr/>
          </p:nvSpPr>
          <p:spPr bwMode="gray">
            <a:xfrm>
              <a:off x="12455176" y="22242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2B621816-B34D-4C96-B96F-5C715C45829B}"/>
                </a:ext>
              </a:extLst>
            </p:cNvPr>
            <p:cNvSpPr/>
            <p:nvPr/>
          </p:nvSpPr>
          <p:spPr bwMode="gray">
            <a:xfrm>
              <a:off x="12455176" y="44372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657F5CE8-B34F-444C-9F30-C4849266D875}"/>
                </a:ext>
              </a:extLst>
            </p:cNvPr>
            <p:cNvSpPr/>
            <p:nvPr/>
          </p:nvSpPr>
          <p:spPr bwMode="gray">
            <a:xfrm>
              <a:off x="12676695" y="22242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03D284D6-CF6C-4BFC-8BAA-4E3DEFF9F379}"/>
                </a:ext>
              </a:extLst>
            </p:cNvPr>
            <p:cNvSpPr/>
            <p:nvPr/>
          </p:nvSpPr>
          <p:spPr bwMode="gray">
            <a:xfrm>
              <a:off x="12676695" y="44372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F2017C50-180E-4CF0-9C26-E8CEE97041A3}"/>
                </a:ext>
              </a:extLst>
            </p:cNvPr>
            <p:cNvSpPr/>
            <p:nvPr/>
          </p:nvSpPr>
          <p:spPr bwMode="gray">
            <a:xfrm>
              <a:off x="12898215" y="22242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B85309A6-0A06-430D-BC25-9F084A978BC1}"/>
                </a:ext>
              </a:extLst>
            </p:cNvPr>
            <p:cNvSpPr/>
            <p:nvPr/>
          </p:nvSpPr>
          <p:spPr bwMode="gray">
            <a:xfrm>
              <a:off x="12898215" y="44372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602F1061-646D-4F4A-BF71-63529009C779}"/>
                </a:ext>
              </a:extLst>
            </p:cNvPr>
            <p:cNvSpPr/>
            <p:nvPr/>
          </p:nvSpPr>
          <p:spPr bwMode="gray">
            <a:xfrm>
              <a:off x="12233656" y="666550"/>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C0E5BBAC-94C9-4F7F-9287-47DCDACCDED5}"/>
                </a:ext>
              </a:extLst>
            </p:cNvPr>
            <p:cNvSpPr/>
            <p:nvPr/>
          </p:nvSpPr>
          <p:spPr bwMode="gray">
            <a:xfrm>
              <a:off x="12455176" y="1329200"/>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8D882D5B-CA7B-4921-A5C7-C2A02ADC6E9E}"/>
                </a:ext>
              </a:extLst>
            </p:cNvPr>
            <p:cNvSpPr/>
            <p:nvPr/>
          </p:nvSpPr>
          <p:spPr bwMode="gray">
            <a:xfrm>
              <a:off x="12676695" y="1329200"/>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3" name="Rectangle 82">
              <a:extLst>
                <a:ext uri="{FF2B5EF4-FFF2-40B4-BE49-F238E27FC236}">
                  <a16:creationId xmlns:a16="http://schemas.microsoft.com/office/drawing/2014/main" id="{B9E1E4DF-D2F6-452C-B668-F445C5207AE8}"/>
                </a:ext>
              </a:extLst>
            </p:cNvPr>
            <p:cNvSpPr/>
            <p:nvPr/>
          </p:nvSpPr>
          <p:spPr bwMode="gray">
            <a:xfrm>
              <a:off x="12898215" y="1329200"/>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4" name="Rectangle 83">
              <a:extLst>
                <a:ext uri="{FF2B5EF4-FFF2-40B4-BE49-F238E27FC236}">
                  <a16:creationId xmlns:a16="http://schemas.microsoft.com/office/drawing/2014/main" id="{B817B419-0520-447A-99C5-2445CD25CBC7}"/>
                </a:ext>
              </a:extLst>
            </p:cNvPr>
            <p:cNvSpPr/>
            <p:nvPr/>
          </p:nvSpPr>
          <p:spPr bwMode="gray">
            <a:xfrm>
              <a:off x="12233656" y="44518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5" name="Rectangle 84">
              <a:extLst>
                <a:ext uri="{FF2B5EF4-FFF2-40B4-BE49-F238E27FC236}">
                  <a16:creationId xmlns:a16="http://schemas.microsoft.com/office/drawing/2014/main" id="{EAAAD1C3-AC65-4E7F-95B0-0904DA748A91}"/>
                </a:ext>
              </a:extLst>
            </p:cNvPr>
            <p:cNvSpPr/>
            <p:nvPr/>
          </p:nvSpPr>
          <p:spPr bwMode="gray">
            <a:xfrm>
              <a:off x="12455176" y="1550568"/>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93E25F0A-706F-4DD8-A3DC-8BA19EF80FF9}"/>
                </a:ext>
              </a:extLst>
            </p:cNvPr>
            <p:cNvSpPr/>
            <p:nvPr/>
          </p:nvSpPr>
          <p:spPr bwMode="gray">
            <a:xfrm>
              <a:off x="12676695" y="1550568"/>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7" name="Rectangle 86">
              <a:extLst>
                <a:ext uri="{FF2B5EF4-FFF2-40B4-BE49-F238E27FC236}">
                  <a16:creationId xmlns:a16="http://schemas.microsoft.com/office/drawing/2014/main" id="{9F5CD6E0-1E3E-40C5-A52C-E38D01328967}"/>
                </a:ext>
              </a:extLst>
            </p:cNvPr>
            <p:cNvSpPr/>
            <p:nvPr/>
          </p:nvSpPr>
          <p:spPr bwMode="gray">
            <a:xfrm>
              <a:off x="12898215" y="1550568"/>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8" name="Rectangle 87">
              <a:extLst>
                <a:ext uri="{FF2B5EF4-FFF2-40B4-BE49-F238E27FC236}">
                  <a16:creationId xmlns:a16="http://schemas.microsoft.com/office/drawing/2014/main" id="{7F4C58CC-4DF8-4296-B3D0-140D4877D04D}"/>
                </a:ext>
              </a:extLst>
            </p:cNvPr>
            <p:cNvSpPr/>
            <p:nvPr/>
          </p:nvSpPr>
          <p:spPr bwMode="gray">
            <a:xfrm>
              <a:off x="12233656" y="22242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9" name="Rectangle 88">
              <a:extLst>
                <a:ext uri="{FF2B5EF4-FFF2-40B4-BE49-F238E27FC236}">
                  <a16:creationId xmlns:a16="http://schemas.microsoft.com/office/drawing/2014/main" id="{8A8BD596-AF6E-430B-BB6B-EABDF5AEDD8E}"/>
                </a:ext>
              </a:extLst>
            </p:cNvPr>
            <p:cNvSpPr/>
            <p:nvPr/>
          </p:nvSpPr>
          <p:spPr bwMode="gray">
            <a:xfrm>
              <a:off x="12455176" y="1106378"/>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0" name="Rectangle 89">
              <a:extLst>
                <a:ext uri="{FF2B5EF4-FFF2-40B4-BE49-F238E27FC236}">
                  <a16:creationId xmlns:a16="http://schemas.microsoft.com/office/drawing/2014/main" id="{831B3C34-B7AB-4090-8ECF-586A4E0A931D}"/>
                </a:ext>
              </a:extLst>
            </p:cNvPr>
            <p:cNvSpPr/>
            <p:nvPr/>
          </p:nvSpPr>
          <p:spPr bwMode="gray">
            <a:xfrm>
              <a:off x="12676695" y="1106378"/>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1" name="Rectangle 90">
              <a:extLst>
                <a:ext uri="{FF2B5EF4-FFF2-40B4-BE49-F238E27FC236}">
                  <a16:creationId xmlns:a16="http://schemas.microsoft.com/office/drawing/2014/main" id="{9BC3DFDA-BB56-4A0D-A846-DFCB8EF88D81}"/>
                </a:ext>
              </a:extLst>
            </p:cNvPr>
            <p:cNvSpPr/>
            <p:nvPr/>
          </p:nvSpPr>
          <p:spPr bwMode="gray">
            <a:xfrm>
              <a:off x="12898215" y="1106378"/>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2" name="Rectangle 91">
              <a:extLst>
                <a:ext uri="{FF2B5EF4-FFF2-40B4-BE49-F238E27FC236}">
                  <a16:creationId xmlns:a16="http://schemas.microsoft.com/office/drawing/2014/main" id="{9B4C1DB7-696A-41FA-B3FE-4C10635D8931}"/>
                </a:ext>
              </a:extLst>
            </p:cNvPr>
            <p:cNvSpPr/>
            <p:nvPr/>
          </p:nvSpPr>
          <p:spPr bwMode="gray">
            <a:xfrm>
              <a:off x="12233656" y="1330654"/>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3" name="Rectangle 92">
              <a:extLst>
                <a:ext uri="{FF2B5EF4-FFF2-40B4-BE49-F238E27FC236}">
                  <a16:creationId xmlns:a16="http://schemas.microsoft.com/office/drawing/2014/main" id="{C2A2C519-863C-4FFE-885E-34C8AB2B023E}"/>
                </a:ext>
              </a:extLst>
            </p:cNvPr>
            <p:cNvSpPr/>
            <p:nvPr/>
          </p:nvSpPr>
          <p:spPr bwMode="gray">
            <a:xfrm>
              <a:off x="12233656" y="1550568"/>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4" name="Rectangle 93">
              <a:extLst>
                <a:ext uri="{FF2B5EF4-FFF2-40B4-BE49-F238E27FC236}">
                  <a16:creationId xmlns:a16="http://schemas.microsoft.com/office/drawing/2014/main" id="{00299C38-075C-4023-BA01-5FBB57E7B93E}"/>
                </a:ext>
              </a:extLst>
            </p:cNvPr>
            <p:cNvSpPr/>
            <p:nvPr/>
          </p:nvSpPr>
          <p:spPr bwMode="gray">
            <a:xfrm>
              <a:off x="12233656" y="1109286"/>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5" name="Rectangle 94">
              <a:extLst>
                <a:ext uri="{FF2B5EF4-FFF2-40B4-BE49-F238E27FC236}">
                  <a16:creationId xmlns:a16="http://schemas.microsoft.com/office/drawing/2014/main" id="{D230E707-137B-4479-8F7E-1687687A179F}"/>
                </a:ext>
              </a:extLst>
            </p:cNvPr>
            <p:cNvSpPr/>
            <p:nvPr/>
          </p:nvSpPr>
          <p:spPr bwMode="gray">
            <a:xfrm>
              <a:off x="12233656" y="887918"/>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6" name="Rectangle 95">
              <a:extLst>
                <a:ext uri="{FF2B5EF4-FFF2-40B4-BE49-F238E27FC236}">
                  <a16:creationId xmlns:a16="http://schemas.microsoft.com/office/drawing/2014/main" id="{930CCC58-FAA5-4900-A5F9-0B899F2A0460}"/>
                </a:ext>
              </a:extLst>
            </p:cNvPr>
            <p:cNvSpPr/>
            <p:nvPr/>
          </p:nvSpPr>
          <p:spPr bwMode="gray">
            <a:xfrm>
              <a:off x="12455176" y="887918"/>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7" name="Rectangle 96">
              <a:extLst>
                <a:ext uri="{FF2B5EF4-FFF2-40B4-BE49-F238E27FC236}">
                  <a16:creationId xmlns:a16="http://schemas.microsoft.com/office/drawing/2014/main" id="{0D728566-B8B7-4E9D-8B72-20AC79577B3C}"/>
                </a:ext>
              </a:extLst>
            </p:cNvPr>
            <p:cNvSpPr/>
            <p:nvPr/>
          </p:nvSpPr>
          <p:spPr bwMode="gray">
            <a:xfrm>
              <a:off x="12455176" y="666550"/>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8" name="Rectangle 97">
              <a:extLst>
                <a:ext uri="{FF2B5EF4-FFF2-40B4-BE49-F238E27FC236}">
                  <a16:creationId xmlns:a16="http://schemas.microsoft.com/office/drawing/2014/main" id="{0654B01F-B9ED-460E-8A42-71800A74AFD1}"/>
                </a:ext>
              </a:extLst>
            </p:cNvPr>
            <p:cNvSpPr/>
            <p:nvPr/>
          </p:nvSpPr>
          <p:spPr bwMode="gray">
            <a:xfrm>
              <a:off x="12676695" y="887918"/>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id="{198DE376-4FF4-4A06-A431-8F072BE6F442}"/>
                </a:ext>
              </a:extLst>
            </p:cNvPr>
            <p:cNvSpPr/>
            <p:nvPr/>
          </p:nvSpPr>
          <p:spPr bwMode="gray">
            <a:xfrm>
              <a:off x="12676695" y="666550"/>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0" name="Rectangle 99">
              <a:extLst>
                <a:ext uri="{FF2B5EF4-FFF2-40B4-BE49-F238E27FC236}">
                  <a16:creationId xmlns:a16="http://schemas.microsoft.com/office/drawing/2014/main" id="{83CCD18B-54DC-422F-BC15-C5819DF277AE}"/>
                </a:ext>
              </a:extLst>
            </p:cNvPr>
            <p:cNvSpPr/>
            <p:nvPr/>
          </p:nvSpPr>
          <p:spPr bwMode="gray">
            <a:xfrm>
              <a:off x="12898215" y="887918"/>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1" name="Rectangle 100">
              <a:extLst>
                <a:ext uri="{FF2B5EF4-FFF2-40B4-BE49-F238E27FC236}">
                  <a16:creationId xmlns:a16="http://schemas.microsoft.com/office/drawing/2014/main" id="{C9AC4FBA-1217-4369-8CD8-64FAE85D8B82}"/>
                </a:ext>
              </a:extLst>
            </p:cNvPr>
            <p:cNvSpPr/>
            <p:nvPr/>
          </p:nvSpPr>
          <p:spPr bwMode="gray">
            <a:xfrm>
              <a:off x="12898215" y="666550"/>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61" r:id="rId24"/>
    <p:sldLayoutId id="2147484258" r:id="rId25"/>
    <p:sldLayoutId id="2147484259" r:id="rId26"/>
    <p:sldLayoutId id="2147484260" r:id="rId27"/>
    <p:sldLayoutId id="2147484263" r:id="rId28"/>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hyperlink" Target="https://app.smartsheet.com/b/form/2d7601d89bf543c2b56545072349f957?elqTrackId=8d2cf6eea8e648ddb39140a68aec9e20&amp;elqaid=1251&amp;elqat=2" TargetMode="External"/><Relationship Id="rId2" Type="http://schemas.openxmlformats.org/officeDocument/2006/relationships/hyperlink" Target="mailto:marketing.automation@iqvia.com?subject=I%20have%20a%20question%20for%20the%20MA%20Open%20Office%20Hours" TargetMode="Externa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hyperlink" Target="https://business.linkedin.com/marketing-solutions/success/ads-guide/document-ads" TargetMode="External"/><Relationship Id="rId7" Type="http://schemas.openxmlformats.org/officeDocument/2006/relationships/hyperlink" Target="https://business.linkedin.com/marketing-solutions/success/ads-guide/message-ads" TargetMode="External"/><Relationship Id="rId2" Type="http://schemas.openxmlformats.org/officeDocument/2006/relationships/hyperlink" Target="https://business.linkedin.com/marketing-solutions/success/ads-guide/single-image-ads" TargetMode="External"/><Relationship Id="rId1" Type="http://schemas.openxmlformats.org/officeDocument/2006/relationships/slideLayout" Target="../slideLayouts/slideLayout13.xml"/><Relationship Id="rId6" Type="http://schemas.openxmlformats.org/officeDocument/2006/relationships/hyperlink" Target="https://business.linkedin.com/marketing-solutions/success/ads-guide/conversation-ads" TargetMode="External"/><Relationship Id="rId5" Type="http://schemas.openxmlformats.org/officeDocument/2006/relationships/hyperlink" Target="https://business.linkedin.com/marketing-solutions/success/ads-guide/carousel-ads" TargetMode="External"/><Relationship Id="rId4" Type="http://schemas.openxmlformats.org/officeDocument/2006/relationships/hyperlink" Target="https://business.linkedin.com/marketing-solutions/success/ads-guide/video-ads"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business.linkedin.com/marketing-solutions/success/ads-guide/message-ads" TargetMode="Externa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hyperlink" Target="https://business.linkedin.com/marketing-solutions/success/ads-guide/conversation-ads" TargetMode="External"/><Relationship Id="rId2" Type="http://schemas.openxmlformats.org/officeDocument/2006/relationships/hyperlink" Target="https://business.linkedin.com/marketing-solutions/conversation-ads" TargetMode="External"/><Relationship Id="rId1" Type="http://schemas.openxmlformats.org/officeDocument/2006/relationships/slideLayout" Target="../slideLayouts/slideLayout13.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hyperlink" Target="https://www.iqvia.com/solutions/real-world-evidence/real-world-data-and-insights/global-real-world-data-information-hub?li_fat_id=b4364958-3735-44d2-821a-210610b4c256&amp;utm_campaign=2024_HDPWLinkedInNurture_COMSOLall_ST&amp;utm_medium=paidsocial&amp;utm_source=Linkedin" TargetMode="Externa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oleObject" Target="../embeddings/oleObject1.bin"/><Relationship Id="rId7" Type="http://schemas.openxmlformats.org/officeDocument/2006/relationships/image" Target="../media/image26.pn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25.svg"/><Relationship Id="rId11" Type="http://schemas.openxmlformats.org/officeDocument/2006/relationships/hyperlink" Target="https://www.linkedin.com/help/lms/answer/72090?src=go-pa&amp;veh=null%7Cgo-pa&amp;trk=sem-ga_campid.20073717082_asid.147321841583_crid.670529355273_kw.linkedin%20message%20ads_d.c_tid.kwd-776430877917_n.g_mt.e_geo.9061998&amp;mcid=7059959449221828689&amp;gclid=CjwKCAiAxqC6BhBcEiwAlXp4568oQlJ5hTAWGV7QLN66qkd5SpdMIBdac31HuMTiS7-wxJy9ABKgDBoC_4sQAvD_BwE" TargetMode="External"/><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emf"/><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16D031-CB0F-842D-58F2-D64136BA2924}"/>
              </a:ext>
            </a:extLst>
          </p:cNvPr>
          <p:cNvSpPr>
            <a:spLocks noGrp="1"/>
          </p:cNvSpPr>
          <p:nvPr>
            <p:ph type="ctrTitle"/>
          </p:nvPr>
        </p:nvSpPr>
        <p:spPr/>
        <p:txBody>
          <a:bodyPr/>
          <a:lstStyle/>
          <a:p>
            <a:r>
              <a:rPr lang="en-US"/>
              <a:t>LinkedIn Sponsored Messaging Ad Formats </a:t>
            </a:r>
            <a:br>
              <a:rPr lang="en-US"/>
            </a:br>
            <a:br>
              <a:rPr lang="en-US"/>
            </a:br>
            <a:r>
              <a:rPr lang="en-US" sz="2400"/>
              <a:t>Message &amp; Conversation Ads</a:t>
            </a:r>
          </a:p>
        </p:txBody>
      </p:sp>
      <p:sp>
        <p:nvSpPr>
          <p:cNvPr id="4" name="Subtitle 3">
            <a:extLst>
              <a:ext uri="{FF2B5EF4-FFF2-40B4-BE49-F238E27FC236}">
                <a16:creationId xmlns:a16="http://schemas.microsoft.com/office/drawing/2014/main" id="{6597ED4D-85CB-40C4-F8A4-28C4AED5922F}"/>
              </a:ext>
            </a:extLst>
          </p:cNvPr>
          <p:cNvSpPr>
            <a:spLocks noGrp="1"/>
          </p:cNvSpPr>
          <p:nvPr>
            <p:ph type="subTitle" idx="1"/>
          </p:nvPr>
        </p:nvSpPr>
        <p:spPr/>
        <p:txBody>
          <a:bodyPr/>
          <a:lstStyle/>
          <a:p>
            <a:r>
              <a:rPr lang="en-US"/>
              <a:t>Marketing Operations</a:t>
            </a:r>
          </a:p>
          <a:p>
            <a:r>
              <a:rPr lang="en-US" i="1"/>
              <a:t>Business Partnership and Orchestration</a:t>
            </a:r>
          </a:p>
        </p:txBody>
      </p:sp>
      <p:pic>
        <p:nvPicPr>
          <p:cNvPr id="6" name="Picture Placeholder 6">
            <a:extLst>
              <a:ext uri="{FF2B5EF4-FFF2-40B4-BE49-F238E27FC236}">
                <a16:creationId xmlns:a16="http://schemas.microsoft.com/office/drawing/2014/main" id="{E860F35D-5A82-3350-441C-EDFC65349954}"/>
              </a:ext>
            </a:extLst>
          </p:cNvPr>
          <p:cNvPicPr>
            <a:picLocks noGrp="1" noChangeAspect="1"/>
          </p:cNvPicPr>
          <p:nvPr>
            <p:ph type="pic" sz="quarter" idx="10"/>
          </p:nvPr>
        </p:nvPicPr>
        <p:blipFill rotWithShape="1">
          <a:blip r:embed="rId2"/>
          <a:srcRect l="14258" r="14258"/>
          <a:stretch/>
        </p:blipFill>
        <p:spPr/>
      </p:pic>
    </p:spTree>
    <p:extLst>
      <p:ext uri="{BB962C8B-B14F-4D97-AF65-F5344CB8AC3E}">
        <p14:creationId xmlns:p14="http://schemas.microsoft.com/office/powerpoint/2010/main" val="9041121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75921F-E2CE-4D1D-B2C9-53542872E72D}"/>
              </a:ext>
            </a:extLst>
          </p:cNvPr>
          <p:cNvSpPr>
            <a:spLocks noGrp="1"/>
          </p:cNvSpPr>
          <p:nvPr>
            <p:ph type="ctrTitle"/>
          </p:nvPr>
        </p:nvSpPr>
        <p:spPr/>
        <p:txBody>
          <a:bodyPr/>
          <a:lstStyle/>
          <a:p>
            <a:r>
              <a:rPr lang="en-GB"/>
              <a:t>Thank You</a:t>
            </a:r>
          </a:p>
        </p:txBody>
      </p:sp>
    </p:spTree>
    <p:extLst>
      <p:ext uri="{BB962C8B-B14F-4D97-AF65-F5344CB8AC3E}">
        <p14:creationId xmlns:p14="http://schemas.microsoft.com/office/powerpoint/2010/main" val="20922699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4972565-B463-4A0D-AE01-73E66F414133}"/>
              </a:ext>
            </a:extLst>
          </p:cNvPr>
          <p:cNvSpPr>
            <a:spLocks noGrp="1"/>
          </p:cNvSpPr>
          <p:nvPr>
            <p:ph idx="1"/>
          </p:nvPr>
        </p:nvSpPr>
        <p:spPr/>
        <p:txBody>
          <a:bodyPr lIns="91440" tIns="45720" rIns="91440" bIns="45720" anchor="t"/>
          <a:lstStyle/>
          <a:p>
            <a:r>
              <a:rPr lang="en-US"/>
              <a:t>Welcome</a:t>
            </a:r>
          </a:p>
          <a:p>
            <a:r>
              <a:rPr lang="en-IN"/>
              <a:t>Introduction to LinkedIn Ad Formats </a:t>
            </a:r>
            <a:endParaRPr lang="en-IN">
              <a:cs typeface="Arial"/>
            </a:endParaRPr>
          </a:p>
          <a:p>
            <a:r>
              <a:rPr lang="en-US"/>
              <a:t>How Sponsored Messaging ads work</a:t>
            </a:r>
            <a:endParaRPr lang="en-IN"/>
          </a:p>
          <a:p>
            <a:r>
              <a:rPr lang="en-IN"/>
              <a:t>Features of Message and Conversation Ads</a:t>
            </a:r>
          </a:p>
          <a:p>
            <a:r>
              <a:rPr lang="en-US"/>
              <a:t>Best Practices for Message and Conversation ads</a:t>
            </a:r>
            <a:endParaRPr lang="en-US">
              <a:cs typeface="Arial"/>
            </a:endParaRPr>
          </a:p>
          <a:p>
            <a:r>
              <a:rPr lang="en-US"/>
              <a:t>Open Q&amp;A/Discussion</a:t>
            </a:r>
            <a:endParaRPr lang="en-US">
              <a:cs typeface="Arial"/>
            </a:endParaRPr>
          </a:p>
        </p:txBody>
      </p:sp>
      <p:sp>
        <p:nvSpPr>
          <p:cNvPr id="3" name="Title 2">
            <a:extLst>
              <a:ext uri="{FF2B5EF4-FFF2-40B4-BE49-F238E27FC236}">
                <a16:creationId xmlns:a16="http://schemas.microsoft.com/office/drawing/2014/main" id="{FD2B8B85-2E5A-4FD5-B022-868DF0E3763F}"/>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27065955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D8C524C-9A53-4D86-B780-099467E78525}"/>
              </a:ext>
            </a:extLst>
          </p:cNvPr>
          <p:cNvSpPr>
            <a:spLocks noGrp="1"/>
          </p:cNvSpPr>
          <p:nvPr>
            <p:ph idx="1"/>
          </p:nvPr>
        </p:nvSpPr>
        <p:spPr>
          <a:xfrm>
            <a:off x="384693" y="1733834"/>
            <a:ext cx="5119461" cy="4649211"/>
          </a:xfrm>
        </p:spPr>
        <p:txBody>
          <a:bodyPr/>
          <a:lstStyle/>
          <a:p>
            <a:r>
              <a:rPr lang="en-US"/>
              <a:t>Get your questions answered by the marketing operations team.  Open Office Hours are held monthly with the following agenda:</a:t>
            </a:r>
          </a:p>
          <a:p>
            <a:pPr lvl="1"/>
            <a:r>
              <a:rPr lang="en-US"/>
              <a:t>Learn about a tip or best practice  </a:t>
            </a:r>
          </a:p>
          <a:p>
            <a:pPr lvl="1"/>
            <a:r>
              <a:rPr lang="en-US"/>
              <a:t>Ask a question – Pre-submit your questions </a:t>
            </a:r>
            <a:r>
              <a:rPr lang="en-US" u="sng">
                <a:hlinkClick r:id="rId2"/>
              </a:rPr>
              <a:t>here</a:t>
            </a:r>
            <a:r>
              <a:rPr lang="en-US" u="sng"/>
              <a:t> </a:t>
            </a:r>
            <a:r>
              <a:rPr lang="en-US"/>
              <a:t>or ask during the office hours</a:t>
            </a:r>
            <a:endParaRPr lang="en-US">
              <a:cs typeface="Arial"/>
            </a:endParaRPr>
          </a:p>
          <a:p>
            <a:pPr lvl="1"/>
            <a:r>
              <a:rPr lang="en-US"/>
              <a:t>Learn how to leverage IQVIA’s marketing systems and processes most effectively</a:t>
            </a:r>
            <a:endParaRPr lang="en-US">
              <a:cs typeface="Arial"/>
            </a:endParaRPr>
          </a:p>
          <a:p>
            <a:pPr lvl="1"/>
            <a:endParaRPr lang="en-US"/>
          </a:p>
          <a:p>
            <a:r>
              <a:rPr lang="en-US" b="1" u="sng"/>
              <a:t>Action:</a:t>
            </a:r>
            <a:r>
              <a:rPr lang="en-US" b="1"/>
              <a:t> </a:t>
            </a:r>
            <a:r>
              <a:rPr lang="en-US"/>
              <a:t>Sign up </a:t>
            </a:r>
            <a:r>
              <a:rPr lang="en-US">
                <a:hlinkClick r:id="rId3"/>
              </a:rPr>
              <a:t>here</a:t>
            </a:r>
            <a:r>
              <a:rPr lang="en-US"/>
              <a:t>, if you need to be added to the outlook invite</a:t>
            </a:r>
            <a:endParaRPr lang="en-US">
              <a:cs typeface="Arial"/>
            </a:endParaRPr>
          </a:p>
          <a:p>
            <a:endParaRPr lang="en-GB"/>
          </a:p>
          <a:p>
            <a:r>
              <a:rPr lang="en-US" b="1" u="sng">
                <a:cs typeface="Arial"/>
              </a:rPr>
              <a:t>Reminder: </a:t>
            </a:r>
            <a:r>
              <a:rPr lang="en-US">
                <a:cs typeface="Arial"/>
              </a:rPr>
              <a:t>Save your questions for the end or enter in the chat. We will address as many as we can!</a:t>
            </a:r>
          </a:p>
          <a:p>
            <a:endParaRPr lang="en-GB"/>
          </a:p>
        </p:txBody>
      </p:sp>
      <p:sp>
        <p:nvSpPr>
          <p:cNvPr id="4" name="Title 3">
            <a:extLst>
              <a:ext uri="{FF2B5EF4-FFF2-40B4-BE49-F238E27FC236}">
                <a16:creationId xmlns:a16="http://schemas.microsoft.com/office/drawing/2014/main" id="{E42B8F4A-7A4B-45BF-B1D1-FEB2E02DE873}"/>
              </a:ext>
            </a:extLst>
          </p:cNvPr>
          <p:cNvSpPr>
            <a:spLocks noGrp="1"/>
          </p:cNvSpPr>
          <p:nvPr>
            <p:ph type="title"/>
          </p:nvPr>
        </p:nvSpPr>
        <p:spPr/>
        <p:txBody>
          <a:bodyPr/>
          <a:lstStyle/>
          <a:p>
            <a:r>
              <a:rPr lang="en-US"/>
              <a:t>Marketing Operations Open Office Hours </a:t>
            </a:r>
            <a:endParaRPr lang="en-GB"/>
          </a:p>
        </p:txBody>
      </p:sp>
      <p:pic>
        <p:nvPicPr>
          <p:cNvPr id="7" name="Picture 6">
            <a:extLst>
              <a:ext uri="{FF2B5EF4-FFF2-40B4-BE49-F238E27FC236}">
                <a16:creationId xmlns:a16="http://schemas.microsoft.com/office/drawing/2014/main" id="{8971DC2E-BABE-4487-B9E1-D802B0DB3DDC}"/>
              </a:ext>
            </a:extLst>
          </p:cNvPr>
          <p:cNvPicPr>
            <a:picLocks noChangeAspect="1"/>
          </p:cNvPicPr>
          <p:nvPr/>
        </p:nvPicPr>
        <p:blipFill>
          <a:blip r:embed="rId4"/>
          <a:stretch>
            <a:fillRect/>
          </a:stretch>
        </p:blipFill>
        <p:spPr>
          <a:xfrm>
            <a:off x="6429890" y="1733835"/>
            <a:ext cx="4534533" cy="3620005"/>
          </a:xfrm>
          <a:prstGeom prst="rect">
            <a:avLst/>
          </a:prstGeom>
        </p:spPr>
      </p:pic>
    </p:spTree>
    <p:extLst>
      <p:ext uri="{BB962C8B-B14F-4D97-AF65-F5344CB8AC3E}">
        <p14:creationId xmlns:p14="http://schemas.microsoft.com/office/powerpoint/2010/main" val="4920206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BEC8E-8D97-4B53-CD15-094B614F388C}"/>
              </a:ext>
            </a:extLst>
          </p:cNvPr>
          <p:cNvSpPr>
            <a:spLocks noGrp="1"/>
          </p:cNvSpPr>
          <p:nvPr>
            <p:ph type="title"/>
          </p:nvPr>
        </p:nvSpPr>
        <p:spPr/>
        <p:txBody>
          <a:bodyPr/>
          <a:lstStyle/>
          <a:p>
            <a:r>
              <a:rPr lang="en-IN" b="1" i="0">
                <a:solidFill>
                  <a:srgbClr val="111111"/>
                </a:solidFill>
                <a:effectLst/>
                <a:highlight>
                  <a:srgbClr val="FFFFFF"/>
                </a:highlight>
                <a:latin typeface="Arial"/>
                <a:cs typeface="Arial"/>
              </a:rPr>
              <a:t>Introduction to LinkedIn Ad Formats and Specifications</a:t>
            </a:r>
            <a:endParaRPr lang="en-US">
              <a:latin typeface="Arial"/>
              <a:cs typeface="Arial"/>
            </a:endParaRPr>
          </a:p>
        </p:txBody>
      </p:sp>
      <p:sp>
        <p:nvSpPr>
          <p:cNvPr id="3" name="Footer Placeholder 2">
            <a:extLst>
              <a:ext uri="{FF2B5EF4-FFF2-40B4-BE49-F238E27FC236}">
                <a16:creationId xmlns:a16="http://schemas.microsoft.com/office/drawing/2014/main" id="{16F86B8E-B392-C933-CC18-123C351CB6D8}"/>
              </a:ext>
            </a:extLst>
          </p:cNvPr>
          <p:cNvSpPr>
            <a:spLocks noGrp="1"/>
          </p:cNvSpPr>
          <p:nvPr>
            <p:ph type="ftr" sz="quarter" idx="3"/>
          </p:nvPr>
        </p:nvSpPr>
        <p:spPr/>
        <p:txBody>
          <a:bodyPr/>
          <a:lstStyle/>
          <a:p>
            <a:endParaRPr lang="en-US"/>
          </a:p>
        </p:txBody>
      </p:sp>
      <p:sp>
        <p:nvSpPr>
          <p:cNvPr id="4" name="TextBox 3">
            <a:extLst>
              <a:ext uri="{FF2B5EF4-FFF2-40B4-BE49-F238E27FC236}">
                <a16:creationId xmlns:a16="http://schemas.microsoft.com/office/drawing/2014/main" id="{39EE27DB-220F-8FF3-2CD6-7BA1A4CA6E8B}"/>
              </a:ext>
            </a:extLst>
          </p:cNvPr>
          <p:cNvSpPr txBox="1"/>
          <p:nvPr/>
        </p:nvSpPr>
        <p:spPr>
          <a:xfrm>
            <a:off x="384694" y="1406737"/>
            <a:ext cx="10643247" cy="923330"/>
          </a:xfrm>
          <a:prstGeom prst="rect">
            <a:avLst/>
          </a:prstGeom>
          <a:noFill/>
        </p:spPr>
        <p:txBody>
          <a:bodyPr wrap="square" lIns="91440" tIns="45720" rIns="91440" bIns="45720" rtlCol="0" anchor="t">
            <a:spAutoFit/>
          </a:bodyPr>
          <a:lstStyle/>
          <a:p>
            <a:r>
              <a:rPr lang="en-IN" b="0" i="0">
                <a:solidFill>
                  <a:srgbClr val="111111"/>
                </a:solidFill>
                <a:effectLst/>
                <a:highlight>
                  <a:srgbClr val="FFFFFF"/>
                </a:highlight>
                <a:latin typeface="Arial"/>
                <a:cs typeface="Arial"/>
              </a:rPr>
              <a:t>Welcome to the definitive guide on LinkedIn Ad Formats and their specifications. In this presentation, we will navigate through the Message and Conversation ads and cover their design recommendations and best practices.</a:t>
            </a:r>
            <a:endParaRPr lang="en-US">
              <a:solidFill>
                <a:schemeClr val="tx2"/>
              </a:solidFill>
              <a:latin typeface="Arial"/>
              <a:cs typeface="Arial"/>
            </a:endParaRPr>
          </a:p>
        </p:txBody>
      </p:sp>
      <p:graphicFrame>
        <p:nvGraphicFramePr>
          <p:cNvPr id="12" name="Table 11">
            <a:extLst>
              <a:ext uri="{FF2B5EF4-FFF2-40B4-BE49-F238E27FC236}">
                <a16:creationId xmlns:a16="http://schemas.microsoft.com/office/drawing/2014/main" id="{FB060CCF-C91F-BE65-E8A2-47DEB8E48CFA}"/>
              </a:ext>
            </a:extLst>
          </p:cNvPr>
          <p:cNvGraphicFramePr>
            <a:graphicFrameLocks noGrp="1"/>
          </p:cNvGraphicFramePr>
          <p:nvPr>
            <p:extLst>
              <p:ext uri="{D42A27DB-BD31-4B8C-83A1-F6EECF244321}">
                <p14:modId xmlns:p14="http://schemas.microsoft.com/office/powerpoint/2010/main" val="1730430351"/>
              </p:ext>
            </p:extLst>
          </p:nvPr>
        </p:nvGraphicFramePr>
        <p:xfrm>
          <a:off x="828806" y="3094772"/>
          <a:ext cx="5225168" cy="1499870"/>
        </p:xfrm>
        <a:graphic>
          <a:graphicData uri="http://schemas.openxmlformats.org/drawingml/2006/table">
            <a:tbl>
              <a:tblPr firstRow="1" bandRow="1">
                <a:tableStyleId>{5C22544A-7EE6-4342-B048-85BDC9FD1C3A}</a:tableStyleId>
              </a:tblPr>
              <a:tblGrid>
                <a:gridCol w="5225168">
                  <a:extLst>
                    <a:ext uri="{9D8B030D-6E8A-4147-A177-3AD203B41FA5}">
                      <a16:colId xmlns:a16="http://schemas.microsoft.com/office/drawing/2014/main" val="2009140924"/>
                    </a:ext>
                  </a:extLst>
                </a:gridCol>
              </a:tblGrid>
              <a:tr h="0">
                <a:tc>
                  <a:txBody>
                    <a:bodyPr/>
                    <a:lstStyle/>
                    <a:p>
                      <a:pPr algn="ctr" rtl="0" fontAlgn="ctr"/>
                      <a:r>
                        <a:rPr lang="en-US" sz="1800" b="1" i="0" u="none" strike="noStrike">
                          <a:solidFill>
                            <a:srgbClr val="FFFFFF"/>
                          </a:solidFill>
                          <a:effectLst/>
                          <a:latin typeface="Arial" panose="020B0604020202020204" pitchFamily="34" charset="0"/>
                        </a:rPr>
                        <a:t>Sponsored Content</a:t>
                      </a:r>
                    </a:p>
                  </a:txBody>
                  <a:tcPr marL="6350" marR="6350" marT="6350" marB="0" anchor="ctr"/>
                </a:tc>
                <a:extLst>
                  <a:ext uri="{0D108BD9-81ED-4DB2-BD59-A6C34878D82A}">
                    <a16:rowId xmlns:a16="http://schemas.microsoft.com/office/drawing/2014/main" val="71449052"/>
                  </a:ext>
                </a:extLst>
              </a:tr>
              <a:tr h="288546">
                <a:tc>
                  <a:txBody>
                    <a:bodyPr/>
                    <a:lstStyle/>
                    <a:p>
                      <a:pPr algn="ctr"/>
                      <a:r>
                        <a:rPr lang="en-US" sz="1400">
                          <a:solidFill>
                            <a:srgbClr val="00B0F0"/>
                          </a:solidFill>
                          <a:hlinkClick r:id="rId2">
                            <a:extLst>
                              <a:ext uri="{A12FA001-AC4F-418D-AE19-62706E023703}">
                                <ahyp:hlinkClr xmlns:ahyp="http://schemas.microsoft.com/office/drawing/2018/hyperlinkcolor" val="tx"/>
                              </a:ext>
                            </a:extLst>
                          </a:hlinkClick>
                        </a:rPr>
                        <a:t>Single Image ad</a:t>
                      </a:r>
                      <a:endParaRPr lang="en-US" sz="1400"/>
                    </a:p>
                  </a:txBody>
                  <a:tcPr/>
                </a:tc>
                <a:extLst>
                  <a:ext uri="{0D108BD9-81ED-4DB2-BD59-A6C34878D82A}">
                    <a16:rowId xmlns:a16="http://schemas.microsoft.com/office/drawing/2014/main" val="2709726627"/>
                  </a:ext>
                </a:extLst>
              </a:tr>
              <a:tr h="288546">
                <a:tc>
                  <a:txBody>
                    <a:bodyPr/>
                    <a:lstStyle/>
                    <a:p>
                      <a:pPr algn="ctr"/>
                      <a:r>
                        <a:rPr lang="en-US" sz="1400">
                          <a:solidFill>
                            <a:srgbClr val="00B0F0"/>
                          </a:solidFill>
                          <a:hlinkClick r:id="rId3">
                            <a:extLst>
                              <a:ext uri="{A12FA001-AC4F-418D-AE19-62706E023703}">
                                <ahyp:hlinkClr xmlns:ahyp="http://schemas.microsoft.com/office/drawing/2018/hyperlinkcolor" val="tx"/>
                              </a:ext>
                            </a:extLst>
                          </a:hlinkClick>
                        </a:rPr>
                        <a:t>Document ad</a:t>
                      </a:r>
                      <a:endParaRPr lang="en-US" sz="1400"/>
                    </a:p>
                  </a:txBody>
                  <a:tcPr/>
                </a:tc>
                <a:extLst>
                  <a:ext uri="{0D108BD9-81ED-4DB2-BD59-A6C34878D82A}">
                    <a16:rowId xmlns:a16="http://schemas.microsoft.com/office/drawing/2014/main" val="2697859070"/>
                  </a:ext>
                </a:extLst>
              </a:tr>
              <a:tr h="288546">
                <a:tc>
                  <a:txBody>
                    <a:bodyPr/>
                    <a:lstStyle/>
                    <a:p>
                      <a:pPr algn="ctr"/>
                      <a:r>
                        <a:rPr lang="en-US" sz="1400">
                          <a:solidFill>
                            <a:srgbClr val="00B0F0"/>
                          </a:solidFill>
                          <a:hlinkClick r:id="rId4">
                            <a:extLst>
                              <a:ext uri="{A12FA001-AC4F-418D-AE19-62706E023703}">
                                <ahyp:hlinkClr xmlns:ahyp="http://schemas.microsoft.com/office/drawing/2018/hyperlinkcolor" val="tx"/>
                              </a:ext>
                            </a:extLst>
                          </a:hlinkClick>
                        </a:rPr>
                        <a:t>Video ad</a:t>
                      </a:r>
                      <a:endParaRPr lang="en-US" sz="1400"/>
                    </a:p>
                  </a:txBody>
                  <a:tcPr/>
                </a:tc>
                <a:extLst>
                  <a:ext uri="{0D108BD9-81ED-4DB2-BD59-A6C34878D82A}">
                    <a16:rowId xmlns:a16="http://schemas.microsoft.com/office/drawing/2014/main" val="2904948962"/>
                  </a:ext>
                </a:extLst>
              </a:tr>
              <a:tr h="2885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00B0F0"/>
                          </a:solidFill>
                          <a:hlinkClick r:id="rId5">
                            <a:extLst>
                              <a:ext uri="{A12FA001-AC4F-418D-AE19-62706E023703}">
                                <ahyp:hlinkClr xmlns:ahyp="http://schemas.microsoft.com/office/drawing/2018/hyperlinkcolor" val="tx"/>
                              </a:ext>
                            </a:extLst>
                          </a:hlinkClick>
                        </a:rPr>
                        <a:t>Carousel ad</a:t>
                      </a:r>
                    </a:p>
                  </a:txBody>
                  <a:tcPr/>
                </a:tc>
                <a:extLst>
                  <a:ext uri="{0D108BD9-81ED-4DB2-BD59-A6C34878D82A}">
                    <a16:rowId xmlns:a16="http://schemas.microsoft.com/office/drawing/2014/main" val="470751036"/>
                  </a:ext>
                </a:extLst>
              </a:tr>
            </a:tbl>
          </a:graphicData>
        </a:graphic>
      </p:graphicFrame>
      <p:graphicFrame>
        <p:nvGraphicFramePr>
          <p:cNvPr id="13" name="Table 12">
            <a:extLst>
              <a:ext uri="{FF2B5EF4-FFF2-40B4-BE49-F238E27FC236}">
                <a16:creationId xmlns:a16="http://schemas.microsoft.com/office/drawing/2014/main" id="{2B09FAC8-02DF-17F8-E74E-6BC95030A736}"/>
              </a:ext>
            </a:extLst>
          </p:cNvPr>
          <p:cNvGraphicFramePr>
            <a:graphicFrameLocks noGrp="1"/>
          </p:cNvGraphicFramePr>
          <p:nvPr>
            <p:extLst>
              <p:ext uri="{D42A27DB-BD31-4B8C-83A1-F6EECF244321}">
                <p14:modId xmlns:p14="http://schemas.microsoft.com/office/powerpoint/2010/main" val="2311089799"/>
              </p:ext>
            </p:extLst>
          </p:nvPr>
        </p:nvGraphicFramePr>
        <p:xfrm>
          <a:off x="6270588" y="3094772"/>
          <a:ext cx="5225168" cy="1499870"/>
        </p:xfrm>
        <a:graphic>
          <a:graphicData uri="http://schemas.openxmlformats.org/drawingml/2006/table">
            <a:tbl>
              <a:tblPr firstRow="1" bandRow="1">
                <a:tableStyleId>{5C22544A-7EE6-4342-B048-85BDC9FD1C3A}</a:tableStyleId>
              </a:tblPr>
              <a:tblGrid>
                <a:gridCol w="5225168">
                  <a:extLst>
                    <a:ext uri="{9D8B030D-6E8A-4147-A177-3AD203B41FA5}">
                      <a16:colId xmlns:a16="http://schemas.microsoft.com/office/drawing/2014/main" val="1809832194"/>
                    </a:ext>
                  </a:extLst>
                </a:gridCol>
              </a:tblGrid>
              <a:tr h="4055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a:solidFill>
                            <a:srgbClr val="FFFFFF"/>
                          </a:solidFill>
                          <a:effectLst/>
                          <a:latin typeface="Arial" panose="020B0604020202020204" pitchFamily="34" charset="0"/>
                        </a:rPr>
                        <a:t>Sponsored Messaging</a:t>
                      </a:r>
                    </a:p>
                  </a:txBody>
                  <a:tcPr anchor="ctr"/>
                </a:tc>
                <a:extLst>
                  <a:ext uri="{0D108BD9-81ED-4DB2-BD59-A6C34878D82A}">
                    <a16:rowId xmlns:a16="http://schemas.microsoft.com/office/drawing/2014/main" val="4035625689"/>
                  </a:ext>
                </a:extLst>
              </a:tr>
              <a:tr h="574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B0F0"/>
                          </a:solidFill>
                          <a:hlinkClick r:id="rId6"/>
                        </a:rPr>
                        <a:t>Conversation Ads</a:t>
                      </a:r>
                      <a:endParaRPr lang="en-US" sz="1400" b="1">
                        <a:solidFill>
                          <a:srgbClr val="00B0F0"/>
                        </a:solidFill>
                      </a:endParaRPr>
                    </a:p>
                  </a:txBody>
                  <a:tcPr anchor="ctr"/>
                </a:tc>
                <a:extLst>
                  <a:ext uri="{0D108BD9-81ED-4DB2-BD59-A6C34878D82A}">
                    <a16:rowId xmlns:a16="http://schemas.microsoft.com/office/drawing/2014/main" val="1263190084"/>
                  </a:ext>
                </a:extLst>
              </a:tr>
              <a:tr h="5196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B0F0"/>
                          </a:solidFill>
                          <a:hlinkClick r:id="rId7"/>
                        </a:rPr>
                        <a:t>Message Ads</a:t>
                      </a:r>
                      <a:endParaRPr lang="en-US" sz="1400" b="1">
                        <a:solidFill>
                          <a:schemeClr val="tx2"/>
                        </a:solidFill>
                      </a:endParaRPr>
                    </a:p>
                  </a:txBody>
                  <a:tcPr anchor="ctr"/>
                </a:tc>
                <a:extLst>
                  <a:ext uri="{0D108BD9-81ED-4DB2-BD59-A6C34878D82A}">
                    <a16:rowId xmlns:a16="http://schemas.microsoft.com/office/drawing/2014/main" val="3137182854"/>
                  </a:ext>
                </a:extLst>
              </a:tr>
            </a:tbl>
          </a:graphicData>
        </a:graphic>
      </p:graphicFrame>
    </p:spTree>
    <p:extLst>
      <p:ext uri="{BB962C8B-B14F-4D97-AF65-F5344CB8AC3E}">
        <p14:creationId xmlns:p14="http://schemas.microsoft.com/office/powerpoint/2010/main" val="33722854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69F31-BF85-614E-9D06-00989F090129}"/>
              </a:ext>
            </a:extLst>
          </p:cNvPr>
          <p:cNvSpPr>
            <a:spLocks noGrp="1"/>
          </p:cNvSpPr>
          <p:nvPr>
            <p:ph type="title"/>
          </p:nvPr>
        </p:nvSpPr>
        <p:spPr/>
        <p:txBody>
          <a:bodyPr/>
          <a:lstStyle/>
          <a:p>
            <a:r>
              <a:rPr lang="en-US"/>
              <a:t>How Sponsored Messaging ads work</a:t>
            </a:r>
          </a:p>
        </p:txBody>
      </p:sp>
      <p:sp>
        <p:nvSpPr>
          <p:cNvPr id="7" name="Rectangle: Rounded Corners 6">
            <a:extLst>
              <a:ext uri="{FF2B5EF4-FFF2-40B4-BE49-F238E27FC236}">
                <a16:creationId xmlns:a16="http://schemas.microsoft.com/office/drawing/2014/main" id="{5853AA08-F1D5-EC49-97EC-8A66AE278B3F}"/>
              </a:ext>
            </a:extLst>
          </p:cNvPr>
          <p:cNvSpPr/>
          <p:nvPr/>
        </p:nvSpPr>
        <p:spPr>
          <a:xfrm>
            <a:off x="750235" y="1441739"/>
            <a:ext cx="3216124" cy="4512624"/>
          </a:xfrm>
          <a:prstGeom prst="roundRect">
            <a:avLst>
              <a:gd name="adj" fmla="val 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nchorCtr="0"/>
          <a:lstStyle/>
          <a:p>
            <a:pPr>
              <a:spcAft>
                <a:spcPts val="600"/>
              </a:spcAft>
            </a:pPr>
            <a:r>
              <a:rPr lang="en-GB" sz="1600" b="1">
                <a:solidFill>
                  <a:srgbClr val="000000"/>
                </a:solidFill>
              </a:rPr>
              <a:t>Delivered in real-time, </a:t>
            </a:r>
            <a:r>
              <a:rPr lang="en-GB" sz="1600">
                <a:solidFill>
                  <a:srgbClr val="000000"/>
                </a:solidFill>
              </a:rPr>
              <a:t>when Target Audience are active on LinkedIn.</a:t>
            </a:r>
          </a:p>
          <a:p>
            <a:pPr>
              <a:spcAft>
                <a:spcPts val="600"/>
              </a:spcAft>
            </a:pPr>
            <a:endParaRPr lang="en-GB" sz="1600">
              <a:solidFill>
                <a:srgbClr val="000000"/>
              </a:solidFill>
            </a:endParaRPr>
          </a:p>
          <a:p>
            <a:pPr>
              <a:spcAft>
                <a:spcPts val="600"/>
              </a:spcAft>
            </a:pPr>
            <a:r>
              <a:rPr lang="en-GB" sz="1600">
                <a:solidFill>
                  <a:srgbClr val="000000"/>
                </a:solidFill>
              </a:rPr>
              <a:t>Message and Conversation ads are delivered to your </a:t>
            </a:r>
            <a:r>
              <a:rPr lang="en-GB" sz="1600" b="1">
                <a:solidFill>
                  <a:srgbClr val="000000"/>
                </a:solidFill>
              </a:rPr>
              <a:t>Target Audience</a:t>
            </a:r>
            <a:r>
              <a:rPr lang="en-GB" sz="1600">
                <a:solidFill>
                  <a:srgbClr val="000000"/>
                </a:solidFill>
              </a:rPr>
              <a:t> on both mobile and desktop.</a:t>
            </a:r>
          </a:p>
          <a:p>
            <a:pPr>
              <a:spcAft>
                <a:spcPts val="600"/>
              </a:spcAft>
            </a:pPr>
            <a:endParaRPr lang="en-GB" sz="1600">
              <a:solidFill>
                <a:srgbClr val="000000"/>
              </a:solidFill>
            </a:endParaRPr>
          </a:p>
          <a:p>
            <a:pPr>
              <a:spcAft>
                <a:spcPts val="600"/>
              </a:spcAft>
            </a:pPr>
            <a:r>
              <a:rPr lang="en-GB" sz="1600">
                <a:solidFill>
                  <a:srgbClr val="000000"/>
                </a:solidFill>
              </a:rPr>
              <a:t>To </a:t>
            </a:r>
            <a:r>
              <a:rPr lang="en-GB" sz="1600" b="1">
                <a:solidFill>
                  <a:srgbClr val="000000"/>
                </a:solidFill>
              </a:rPr>
              <a:t>prevent fatigue</a:t>
            </a:r>
            <a:r>
              <a:rPr lang="en-GB" sz="1600">
                <a:solidFill>
                  <a:srgbClr val="000000"/>
                </a:solidFill>
              </a:rPr>
              <a:t>, LinkedIn members only receive the same message ad once every 45 days.</a:t>
            </a:r>
            <a:endParaRPr lang="en-US" sz="1600">
              <a:solidFill>
                <a:srgbClr val="000000"/>
              </a:solidFill>
              <a:ea typeface="Calibri" panose="020F0502020204030204"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id="{FF4270DD-3D80-8448-B6B2-192F2A8E6898}"/>
              </a:ext>
            </a:extLst>
          </p:cNvPr>
          <p:cNvGrpSpPr/>
          <p:nvPr/>
        </p:nvGrpSpPr>
        <p:grpSpPr>
          <a:xfrm>
            <a:off x="3940632" y="1465951"/>
            <a:ext cx="1408608" cy="4464200"/>
            <a:chOff x="3959463" y="1519851"/>
            <a:chExt cx="1408608" cy="4464200"/>
          </a:xfrm>
        </p:grpSpPr>
        <p:sp>
          <p:nvSpPr>
            <p:cNvPr id="8" name="Rectangle: Rounded Corners 7">
              <a:extLst>
                <a:ext uri="{FF2B5EF4-FFF2-40B4-BE49-F238E27FC236}">
                  <a16:creationId xmlns:a16="http://schemas.microsoft.com/office/drawing/2014/main" id="{2DB7DD9F-931C-D44E-848F-7B35943478B7}"/>
                </a:ext>
              </a:extLst>
            </p:cNvPr>
            <p:cNvSpPr/>
            <p:nvPr/>
          </p:nvSpPr>
          <p:spPr>
            <a:xfrm rot="10800000">
              <a:off x="3959463" y="1519851"/>
              <a:ext cx="659174" cy="4464200"/>
            </a:xfrm>
            <a:custGeom>
              <a:avLst/>
              <a:gdLst>
                <a:gd name="connsiteX0" fmla="*/ 0 w 1541806"/>
                <a:gd name="connsiteY0" fmla="*/ 770903 h 4645573"/>
                <a:gd name="connsiteX1" fmla="*/ 770903 w 1541806"/>
                <a:gd name="connsiteY1" fmla="*/ 0 h 4645573"/>
                <a:gd name="connsiteX2" fmla="*/ 770903 w 1541806"/>
                <a:gd name="connsiteY2" fmla="*/ 0 h 4645573"/>
                <a:gd name="connsiteX3" fmla="*/ 1541806 w 1541806"/>
                <a:gd name="connsiteY3" fmla="*/ 770903 h 4645573"/>
                <a:gd name="connsiteX4" fmla="*/ 1541806 w 1541806"/>
                <a:gd name="connsiteY4" fmla="*/ 3874670 h 4645573"/>
                <a:gd name="connsiteX5" fmla="*/ 770903 w 1541806"/>
                <a:gd name="connsiteY5" fmla="*/ 4645573 h 4645573"/>
                <a:gd name="connsiteX6" fmla="*/ 770903 w 1541806"/>
                <a:gd name="connsiteY6" fmla="*/ 4645573 h 4645573"/>
                <a:gd name="connsiteX7" fmla="*/ 0 w 1541806"/>
                <a:gd name="connsiteY7" fmla="*/ 3874670 h 4645573"/>
                <a:gd name="connsiteX8" fmla="*/ 0 w 1541806"/>
                <a:gd name="connsiteY8" fmla="*/ 770903 h 4645573"/>
                <a:gd name="connsiteX0" fmla="*/ 1541806 w 1633246"/>
                <a:gd name="connsiteY0" fmla="*/ 770903 h 4645573"/>
                <a:gd name="connsiteX1" fmla="*/ 1541806 w 1633246"/>
                <a:gd name="connsiteY1" fmla="*/ 3874670 h 4645573"/>
                <a:gd name="connsiteX2" fmla="*/ 770903 w 1633246"/>
                <a:gd name="connsiteY2" fmla="*/ 4645573 h 4645573"/>
                <a:gd name="connsiteX3" fmla="*/ 770903 w 1633246"/>
                <a:gd name="connsiteY3" fmla="*/ 4645573 h 4645573"/>
                <a:gd name="connsiteX4" fmla="*/ 0 w 1633246"/>
                <a:gd name="connsiteY4" fmla="*/ 3874670 h 4645573"/>
                <a:gd name="connsiteX5" fmla="*/ 0 w 1633246"/>
                <a:gd name="connsiteY5" fmla="*/ 770903 h 4645573"/>
                <a:gd name="connsiteX6" fmla="*/ 770903 w 1633246"/>
                <a:gd name="connsiteY6" fmla="*/ 0 h 4645573"/>
                <a:gd name="connsiteX7" fmla="*/ 770903 w 1633246"/>
                <a:gd name="connsiteY7" fmla="*/ 0 h 4645573"/>
                <a:gd name="connsiteX8" fmla="*/ 1633246 w 1633246"/>
                <a:gd name="connsiteY8" fmla="*/ 862343 h 4645573"/>
                <a:gd name="connsiteX0" fmla="*/ 1541806 w 1541806"/>
                <a:gd name="connsiteY0" fmla="*/ 770903 h 4645573"/>
                <a:gd name="connsiteX1" fmla="*/ 1541806 w 1541806"/>
                <a:gd name="connsiteY1" fmla="*/ 3874670 h 4645573"/>
                <a:gd name="connsiteX2" fmla="*/ 770903 w 1541806"/>
                <a:gd name="connsiteY2" fmla="*/ 4645573 h 4645573"/>
                <a:gd name="connsiteX3" fmla="*/ 770903 w 1541806"/>
                <a:gd name="connsiteY3" fmla="*/ 4645573 h 4645573"/>
                <a:gd name="connsiteX4" fmla="*/ 0 w 1541806"/>
                <a:gd name="connsiteY4" fmla="*/ 3874670 h 4645573"/>
                <a:gd name="connsiteX5" fmla="*/ 0 w 1541806"/>
                <a:gd name="connsiteY5" fmla="*/ 770903 h 4645573"/>
                <a:gd name="connsiteX6" fmla="*/ 770903 w 1541806"/>
                <a:gd name="connsiteY6" fmla="*/ 0 h 4645573"/>
                <a:gd name="connsiteX7" fmla="*/ 770903 w 1541806"/>
                <a:gd name="connsiteY7" fmla="*/ 0 h 4645573"/>
                <a:gd name="connsiteX0" fmla="*/ 1541806 w 1541806"/>
                <a:gd name="connsiteY0" fmla="*/ 3874670 h 4645573"/>
                <a:gd name="connsiteX1" fmla="*/ 770903 w 1541806"/>
                <a:gd name="connsiteY1" fmla="*/ 4645573 h 4645573"/>
                <a:gd name="connsiteX2" fmla="*/ 770903 w 1541806"/>
                <a:gd name="connsiteY2" fmla="*/ 4645573 h 4645573"/>
                <a:gd name="connsiteX3" fmla="*/ 0 w 1541806"/>
                <a:gd name="connsiteY3" fmla="*/ 3874670 h 4645573"/>
                <a:gd name="connsiteX4" fmla="*/ 0 w 1541806"/>
                <a:gd name="connsiteY4" fmla="*/ 770903 h 4645573"/>
                <a:gd name="connsiteX5" fmla="*/ 770903 w 1541806"/>
                <a:gd name="connsiteY5" fmla="*/ 0 h 4645573"/>
                <a:gd name="connsiteX6" fmla="*/ 770903 w 1541806"/>
                <a:gd name="connsiteY6" fmla="*/ 0 h 4645573"/>
                <a:gd name="connsiteX0" fmla="*/ 770903 w 770903"/>
                <a:gd name="connsiteY0" fmla="*/ 4645573 h 4645573"/>
                <a:gd name="connsiteX1" fmla="*/ 770903 w 770903"/>
                <a:gd name="connsiteY1" fmla="*/ 4645573 h 4645573"/>
                <a:gd name="connsiteX2" fmla="*/ 0 w 770903"/>
                <a:gd name="connsiteY2" fmla="*/ 3874670 h 4645573"/>
                <a:gd name="connsiteX3" fmla="*/ 0 w 770903"/>
                <a:gd name="connsiteY3" fmla="*/ 770903 h 4645573"/>
                <a:gd name="connsiteX4" fmla="*/ 770903 w 770903"/>
                <a:gd name="connsiteY4" fmla="*/ 0 h 4645573"/>
                <a:gd name="connsiteX5" fmla="*/ 770903 w 770903"/>
                <a:gd name="connsiteY5" fmla="*/ 0 h 46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03" h="4645573">
                  <a:moveTo>
                    <a:pt x="770903" y="4645573"/>
                  </a:moveTo>
                  <a:lnTo>
                    <a:pt x="770903" y="4645573"/>
                  </a:lnTo>
                  <a:cubicBezTo>
                    <a:pt x="345145" y="4645573"/>
                    <a:pt x="0" y="4300428"/>
                    <a:pt x="0" y="3874670"/>
                  </a:cubicBezTo>
                  <a:lnTo>
                    <a:pt x="0" y="770903"/>
                  </a:lnTo>
                  <a:cubicBezTo>
                    <a:pt x="0" y="345145"/>
                    <a:pt x="345145" y="0"/>
                    <a:pt x="770903" y="0"/>
                  </a:cubicBezTo>
                  <a:lnTo>
                    <a:pt x="770903" y="0"/>
                  </a:lnTo>
                </a:path>
              </a:pathLst>
            </a:custGeom>
            <a:noFill/>
            <a:ln w="19050" cap="rnd">
              <a:solidFill>
                <a:srgbClr val="CACED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38FEA0C1-76D3-F848-9EA0-590631387E99}"/>
                </a:ext>
              </a:extLst>
            </p:cNvPr>
            <p:cNvCxnSpPr>
              <a:cxnSpLocks/>
            </p:cNvCxnSpPr>
            <p:nvPr/>
          </p:nvCxnSpPr>
          <p:spPr>
            <a:xfrm>
              <a:off x="4623371" y="3751951"/>
              <a:ext cx="744700" cy="0"/>
            </a:xfrm>
            <a:prstGeom prst="straightConnector1">
              <a:avLst/>
            </a:prstGeom>
            <a:ln w="19050" cap="rnd">
              <a:solidFill>
                <a:srgbClr val="CACED1"/>
              </a:solidFill>
              <a:round/>
              <a:tailEnd type="oval" w="lg" len="lg"/>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CB0A8AF9-851F-65A9-F6A1-6BE2F8DF0369}"/>
              </a:ext>
            </a:extLst>
          </p:cNvPr>
          <p:cNvPicPr>
            <a:picLocks noChangeAspect="1"/>
          </p:cNvPicPr>
          <p:nvPr/>
        </p:nvPicPr>
        <p:blipFill>
          <a:blip r:embed="rId2"/>
          <a:stretch>
            <a:fillRect/>
          </a:stretch>
        </p:blipFill>
        <p:spPr>
          <a:xfrm>
            <a:off x="5955937" y="1465951"/>
            <a:ext cx="5404576" cy="4464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058877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4919D1-044A-3C73-3683-1D473638FC43}"/>
              </a:ext>
            </a:extLst>
          </p:cNvPr>
          <p:cNvSpPr>
            <a:spLocks noGrp="1"/>
          </p:cNvSpPr>
          <p:nvPr>
            <p:ph type="title"/>
          </p:nvPr>
        </p:nvSpPr>
        <p:spPr/>
        <p:txBody>
          <a:bodyPr/>
          <a:lstStyle/>
          <a:p>
            <a:r>
              <a:rPr lang="en-US"/>
              <a:t>What Are Message Ads?</a:t>
            </a:r>
          </a:p>
        </p:txBody>
      </p:sp>
      <p:sp>
        <p:nvSpPr>
          <p:cNvPr id="5" name="TextBox 4">
            <a:extLst>
              <a:ext uri="{FF2B5EF4-FFF2-40B4-BE49-F238E27FC236}">
                <a16:creationId xmlns:a16="http://schemas.microsoft.com/office/drawing/2014/main" id="{A554A226-8510-CC59-94C5-56C7750E4DFE}"/>
              </a:ext>
            </a:extLst>
          </p:cNvPr>
          <p:cNvSpPr txBox="1"/>
          <p:nvPr/>
        </p:nvSpPr>
        <p:spPr>
          <a:xfrm>
            <a:off x="384694" y="1267689"/>
            <a:ext cx="7543065" cy="3539430"/>
          </a:xfrm>
          <a:prstGeom prst="rect">
            <a:avLst/>
          </a:prstGeom>
          <a:noFill/>
        </p:spPr>
        <p:txBody>
          <a:bodyPr wrap="square">
            <a:spAutoFit/>
          </a:bodyPr>
          <a:lstStyle/>
          <a:p>
            <a:r>
              <a:rPr lang="en-US" sz="1600">
                <a:effectLst/>
                <a:ea typeface="Calibri" panose="020F0502020204030204" pitchFamily="34" charset="0"/>
              </a:rPr>
              <a:t>Message ads deliver direct messages to your prospects through LinkedIn Messaging, encouraging action. These ads are native, meaning they’re designed to blend seamlessly with regular LinkedIn messages. They can appear on both desktop and mobile devices. </a:t>
            </a:r>
          </a:p>
          <a:p>
            <a:endParaRPr lang="en-US" sz="1600"/>
          </a:p>
          <a:p>
            <a:pPr algn="l"/>
            <a:r>
              <a:rPr lang="en-US" sz="1600" b="1" i="0">
                <a:solidFill>
                  <a:srgbClr val="001D35"/>
                </a:solidFill>
                <a:effectLst/>
              </a:rPr>
              <a:t>Here are some features of LinkedIn Conversation Ads:</a:t>
            </a:r>
          </a:p>
          <a:p>
            <a:pPr algn="l"/>
            <a:endParaRPr lang="en-US" sz="1600" b="1" i="0">
              <a:solidFill>
                <a:srgbClr val="001D35"/>
              </a:solidFill>
              <a:effectLst/>
            </a:endParaRPr>
          </a:p>
          <a:p>
            <a:pPr algn="l">
              <a:buFont typeface="Arial" panose="020B0604020202020204" pitchFamily="34" charset="0"/>
              <a:buChar char="•"/>
            </a:pPr>
            <a:r>
              <a:rPr lang="en-US" sz="1600" i="0">
                <a:solidFill>
                  <a:srgbClr val="001D35"/>
                </a:solidFill>
                <a:effectLst/>
              </a:rPr>
              <a:t> </a:t>
            </a:r>
            <a:r>
              <a:rPr lang="en-US" sz="1600" b="0" i="0">
                <a:effectLst/>
              </a:rPr>
              <a:t>Deliver a targeted message with a single CTA. However, we can add multiple hyperlinks</a:t>
            </a:r>
            <a:r>
              <a:rPr lang="en-US" sz="1600"/>
              <a:t> within the content</a:t>
            </a:r>
            <a:r>
              <a:rPr lang="en-US" sz="1600" b="0" i="0">
                <a:effectLst/>
              </a:rPr>
              <a:t>.</a:t>
            </a:r>
            <a:endParaRPr lang="en-US" sz="1600" b="0" i="0">
              <a:solidFill>
                <a:srgbClr val="001D35"/>
              </a:solidFill>
              <a:effectLst/>
            </a:endParaRPr>
          </a:p>
          <a:p>
            <a:pPr algn="l">
              <a:buFont typeface="Arial" panose="020B0604020202020204" pitchFamily="34" charset="0"/>
              <a:buChar char="•"/>
            </a:pPr>
            <a:endParaRPr lang="en-US" sz="1600">
              <a:solidFill>
                <a:srgbClr val="001D35"/>
              </a:solidFill>
            </a:endParaRPr>
          </a:p>
          <a:p>
            <a:pPr algn="l">
              <a:buFont typeface="Arial" panose="020B0604020202020204" pitchFamily="34" charset="0"/>
              <a:buChar char="•"/>
            </a:pPr>
            <a:r>
              <a:rPr lang="en-US" sz="1600" b="1" i="0">
                <a:solidFill>
                  <a:srgbClr val="001D35"/>
                </a:solidFill>
                <a:effectLst/>
              </a:rPr>
              <a:t> </a:t>
            </a:r>
            <a:r>
              <a:rPr lang="en-US" sz="1600" i="0">
                <a:solidFill>
                  <a:srgbClr val="001D35"/>
                </a:solidFill>
                <a:effectLst/>
              </a:rPr>
              <a:t>Drive stronger engagement and response than traditional emails</a:t>
            </a:r>
          </a:p>
          <a:p>
            <a:pPr algn="l"/>
            <a:endParaRPr lang="en-US" sz="1600" b="0" i="0">
              <a:solidFill>
                <a:srgbClr val="001D35"/>
              </a:solidFill>
              <a:effectLst/>
            </a:endParaRPr>
          </a:p>
          <a:p>
            <a:pPr algn="l"/>
            <a:r>
              <a:rPr lang="en-US" sz="1600">
                <a:solidFill>
                  <a:srgbClr val="001D35"/>
                </a:solidFill>
              </a:rPr>
              <a:t>For design details we suggest you visit LinkedIn conversation ad </a:t>
            </a:r>
            <a:r>
              <a:rPr lang="en-US" sz="1600">
                <a:solidFill>
                  <a:srgbClr val="001D35"/>
                </a:solidFill>
                <a:hlinkClick r:id="rId2"/>
              </a:rPr>
              <a:t>design recommendations</a:t>
            </a:r>
            <a:r>
              <a:rPr lang="en-US" sz="1600">
                <a:solidFill>
                  <a:srgbClr val="001D35"/>
                </a:solidFill>
              </a:rPr>
              <a:t>.</a:t>
            </a:r>
            <a:endParaRPr lang="en-US" sz="1600" b="0" i="0">
              <a:solidFill>
                <a:srgbClr val="001D35"/>
              </a:solidFill>
              <a:effectLst/>
            </a:endParaRPr>
          </a:p>
        </p:txBody>
      </p:sp>
      <p:pic>
        <p:nvPicPr>
          <p:cNvPr id="10" name="Picture 9">
            <a:extLst>
              <a:ext uri="{FF2B5EF4-FFF2-40B4-BE49-F238E27FC236}">
                <a16:creationId xmlns:a16="http://schemas.microsoft.com/office/drawing/2014/main" id="{186CAF1E-B4FD-B75B-0422-3A20408B0E72}"/>
              </a:ext>
            </a:extLst>
          </p:cNvPr>
          <p:cNvPicPr>
            <a:picLocks noChangeAspect="1"/>
          </p:cNvPicPr>
          <p:nvPr/>
        </p:nvPicPr>
        <p:blipFill>
          <a:blip r:embed="rId3"/>
          <a:stretch>
            <a:fillRect/>
          </a:stretch>
        </p:blipFill>
        <p:spPr>
          <a:xfrm>
            <a:off x="8256674" y="1149916"/>
            <a:ext cx="3124281" cy="5032780"/>
          </a:xfrm>
          <a:prstGeom prst="rect">
            <a:avLst/>
          </a:prstGeom>
        </p:spPr>
      </p:pic>
    </p:spTree>
    <p:extLst>
      <p:ext uri="{BB962C8B-B14F-4D97-AF65-F5344CB8AC3E}">
        <p14:creationId xmlns:p14="http://schemas.microsoft.com/office/powerpoint/2010/main" val="12484634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4919D1-044A-3C73-3683-1D473638FC43}"/>
              </a:ext>
            </a:extLst>
          </p:cNvPr>
          <p:cNvSpPr>
            <a:spLocks noGrp="1"/>
          </p:cNvSpPr>
          <p:nvPr>
            <p:ph type="title"/>
          </p:nvPr>
        </p:nvSpPr>
        <p:spPr/>
        <p:txBody>
          <a:bodyPr/>
          <a:lstStyle/>
          <a:p>
            <a:r>
              <a:rPr lang="en-US"/>
              <a:t>What Are Conversation Ads?</a:t>
            </a:r>
          </a:p>
        </p:txBody>
      </p:sp>
      <p:sp>
        <p:nvSpPr>
          <p:cNvPr id="5" name="TextBox 4">
            <a:extLst>
              <a:ext uri="{FF2B5EF4-FFF2-40B4-BE49-F238E27FC236}">
                <a16:creationId xmlns:a16="http://schemas.microsoft.com/office/drawing/2014/main" id="{A554A226-8510-CC59-94C5-56C7750E4DFE}"/>
              </a:ext>
            </a:extLst>
          </p:cNvPr>
          <p:cNvSpPr txBox="1"/>
          <p:nvPr/>
        </p:nvSpPr>
        <p:spPr>
          <a:xfrm>
            <a:off x="384694" y="1267689"/>
            <a:ext cx="7543065" cy="4062651"/>
          </a:xfrm>
          <a:prstGeom prst="rect">
            <a:avLst/>
          </a:prstGeom>
          <a:noFill/>
        </p:spPr>
        <p:txBody>
          <a:bodyPr wrap="square">
            <a:spAutoFit/>
          </a:bodyPr>
          <a:lstStyle/>
          <a:p>
            <a:r>
              <a:rPr lang="en-US" sz="1600">
                <a:hlinkClick r:id="rId2"/>
              </a:rPr>
              <a:t>LinkedIn Conversation Ads</a:t>
            </a:r>
            <a:r>
              <a:rPr lang="en-US" sz="1600"/>
              <a:t> are a form of native advertising that enables advertisers to engage in two-way conversations with their target audience. They offer a more interactive and personalized advertising experience compared to other formats.</a:t>
            </a:r>
          </a:p>
          <a:p>
            <a:endParaRPr lang="en-US" sz="1600"/>
          </a:p>
          <a:p>
            <a:pPr algn="l"/>
            <a:r>
              <a:rPr lang="en-US" sz="1600" b="1" i="0">
                <a:solidFill>
                  <a:srgbClr val="001D35"/>
                </a:solidFill>
                <a:effectLst/>
              </a:rPr>
              <a:t>Here are some features of LinkedIn Conversation Ads:</a:t>
            </a:r>
          </a:p>
          <a:p>
            <a:pPr algn="l"/>
            <a:endParaRPr lang="en-US" sz="1600" b="1" i="0">
              <a:solidFill>
                <a:srgbClr val="001D35"/>
              </a:solidFill>
              <a:effectLst/>
            </a:endParaRPr>
          </a:p>
          <a:p>
            <a:pPr algn="l">
              <a:buFont typeface="Arial" panose="020B0604020202020204" pitchFamily="34" charset="0"/>
              <a:buChar char="•"/>
            </a:pPr>
            <a:r>
              <a:rPr lang="en-US" sz="1600" i="0">
                <a:solidFill>
                  <a:srgbClr val="001D35"/>
                </a:solidFill>
                <a:effectLst/>
              </a:rPr>
              <a:t> Multiple call-to-action buttons: </a:t>
            </a:r>
            <a:r>
              <a:rPr lang="en-US" sz="1600" b="0" i="0">
                <a:solidFill>
                  <a:srgbClr val="001D35"/>
                </a:solidFill>
                <a:effectLst/>
              </a:rPr>
              <a:t>Advertisers can set up multiple call-to-action buttons that can link to landing pages, open a Lead Gen Form, or encourage engagement with more information in the next message. </a:t>
            </a:r>
          </a:p>
          <a:p>
            <a:pPr algn="l">
              <a:buFont typeface="Arial" panose="020B0604020202020204" pitchFamily="34" charset="0"/>
              <a:buChar char="•"/>
            </a:pPr>
            <a:endParaRPr lang="en-US" sz="1600">
              <a:solidFill>
                <a:srgbClr val="001D35"/>
              </a:solidFill>
            </a:endParaRPr>
          </a:p>
          <a:p>
            <a:pPr algn="l">
              <a:buFont typeface="Arial" panose="020B0604020202020204" pitchFamily="34" charset="0"/>
              <a:buChar char="•"/>
            </a:pPr>
            <a:r>
              <a:rPr lang="en-US" sz="1600" b="1" i="0">
                <a:solidFill>
                  <a:srgbClr val="001D35"/>
                </a:solidFill>
                <a:effectLst/>
              </a:rPr>
              <a:t> </a:t>
            </a:r>
            <a:r>
              <a:rPr lang="en-US" sz="1600" i="0">
                <a:solidFill>
                  <a:srgbClr val="001D35"/>
                </a:solidFill>
                <a:effectLst/>
              </a:rPr>
              <a:t>Personalized:</a:t>
            </a:r>
            <a:r>
              <a:rPr lang="en-US" sz="1600" b="0" i="0">
                <a:solidFill>
                  <a:srgbClr val="001D35"/>
                </a:solidFill>
                <a:effectLst/>
              </a:rPr>
              <a:t> Advertisers can target their audience based on specific criteria.</a:t>
            </a:r>
          </a:p>
          <a:p>
            <a:pPr algn="l"/>
            <a:endParaRPr lang="en-US" sz="1600" b="0" i="0">
              <a:solidFill>
                <a:srgbClr val="001D35"/>
              </a:solidFill>
              <a:effectLst/>
            </a:endParaRPr>
          </a:p>
          <a:p>
            <a:pPr algn="l"/>
            <a:r>
              <a:rPr lang="en-US" sz="1600">
                <a:solidFill>
                  <a:srgbClr val="001D35"/>
                </a:solidFill>
              </a:rPr>
              <a:t>For design details we suggest you visit LinkedIn conversation ad </a:t>
            </a:r>
            <a:r>
              <a:rPr lang="en-US" sz="1600">
                <a:solidFill>
                  <a:srgbClr val="001D35"/>
                </a:solidFill>
                <a:hlinkClick r:id="rId3"/>
              </a:rPr>
              <a:t>design recommendations</a:t>
            </a:r>
            <a:r>
              <a:rPr lang="en-US" sz="1600">
                <a:solidFill>
                  <a:srgbClr val="001D35"/>
                </a:solidFill>
              </a:rPr>
              <a:t>.</a:t>
            </a:r>
            <a:endParaRPr lang="en-US" sz="1600" b="0" i="0">
              <a:solidFill>
                <a:srgbClr val="001D35"/>
              </a:solidFill>
              <a:effectLst/>
            </a:endParaRPr>
          </a:p>
          <a:p>
            <a:endParaRPr lang="en-US"/>
          </a:p>
        </p:txBody>
      </p:sp>
      <p:pic>
        <p:nvPicPr>
          <p:cNvPr id="7" name="Picture 6">
            <a:extLst>
              <a:ext uri="{FF2B5EF4-FFF2-40B4-BE49-F238E27FC236}">
                <a16:creationId xmlns:a16="http://schemas.microsoft.com/office/drawing/2014/main" id="{B08503C4-91AA-474D-72C6-0C97985A0F2E}"/>
              </a:ext>
            </a:extLst>
          </p:cNvPr>
          <p:cNvPicPr>
            <a:picLocks noChangeAspect="1"/>
          </p:cNvPicPr>
          <p:nvPr/>
        </p:nvPicPr>
        <p:blipFill>
          <a:blip r:embed="rId4"/>
          <a:stretch>
            <a:fillRect/>
          </a:stretch>
        </p:blipFill>
        <p:spPr>
          <a:xfrm>
            <a:off x="8256674" y="1144934"/>
            <a:ext cx="3550632" cy="495555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82428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2B8B85-2E5A-4FD5-B022-868DF0E3763F}"/>
              </a:ext>
            </a:extLst>
          </p:cNvPr>
          <p:cNvSpPr>
            <a:spLocks noGrp="1"/>
          </p:cNvSpPr>
          <p:nvPr>
            <p:ph type="title"/>
          </p:nvPr>
        </p:nvSpPr>
        <p:spPr/>
        <p:txBody>
          <a:bodyPr/>
          <a:lstStyle/>
          <a:p>
            <a:r>
              <a:rPr lang="en-US"/>
              <a:t>Conversation Ad Flow</a:t>
            </a:r>
          </a:p>
        </p:txBody>
      </p:sp>
      <p:sp>
        <p:nvSpPr>
          <p:cNvPr id="8" name="Arrow: Right 7">
            <a:extLst>
              <a:ext uri="{FF2B5EF4-FFF2-40B4-BE49-F238E27FC236}">
                <a16:creationId xmlns:a16="http://schemas.microsoft.com/office/drawing/2014/main" id="{7400E3B6-819A-1B3B-AEF3-49B79C4AE206}"/>
              </a:ext>
            </a:extLst>
          </p:cNvPr>
          <p:cNvSpPr/>
          <p:nvPr/>
        </p:nvSpPr>
        <p:spPr>
          <a:xfrm>
            <a:off x="4103289" y="2323169"/>
            <a:ext cx="773512" cy="34959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Arrow: Right 9">
            <a:extLst>
              <a:ext uri="{FF2B5EF4-FFF2-40B4-BE49-F238E27FC236}">
                <a16:creationId xmlns:a16="http://schemas.microsoft.com/office/drawing/2014/main" id="{88D80F68-D7D6-75D2-13C6-DD73030D4E3B}"/>
              </a:ext>
            </a:extLst>
          </p:cNvPr>
          <p:cNvSpPr/>
          <p:nvPr/>
        </p:nvSpPr>
        <p:spPr>
          <a:xfrm>
            <a:off x="7747199" y="2323169"/>
            <a:ext cx="773512" cy="34959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2" name="TextBox 11">
            <a:extLst>
              <a:ext uri="{FF2B5EF4-FFF2-40B4-BE49-F238E27FC236}">
                <a16:creationId xmlns:a16="http://schemas.microsoft.com/office/drawing/2014/main" id="{2BE07E4F-849A-4830-B7C2-5E4EE042EDE0}"/>
              </a:ext>
            </a:extLst>
          </p:cNvPr>
          <p:cNvSpPr txBox="1"/>
          <p:nvPr/>
        </p:nvSpPr>
        <p:spPr>
          <a:xfrm>
            <a:off x="8623593" y="2184062"/>
            <a:ext cx="3276600" cy="584775"/>
          </a:xfrm>
          <a:prstGeom prst="rect">
            <a:avLst/>
          </a:prstGeom>
          <a:noFill/>
        </p:spPr>
        <p:txBody>
          <a:bodyPr wrap="square" rtlCol="0">
            <a:spAutoFit/>
          </a:bodyPr>
          <a:lstStyle/>
          <a:p>
            <a:r>
              <a:rPr lang="en-US" sz="1600">
                <a:solidFill>
                  <a:schemeClr val="tx2"/>
                </a:solidFill>
              </a:rPr>
              <a:t>Take me to Content Hub takes you to the website link </a:t>
            </a:r>
          </a:p>
        </p:txBody>
      </p:sp>
      <p:sp>
        <p:nvSpPr>
          <p:cNvPr id="13" name="Rectangle 1">
            <a:extLst>
              <a:ext uri="{FF2B5EF4-FFF2-40B4-BE49-F238E27FC236}">
                <a16:creationId xmlns:a16="http://schemas.microsoft.com/office/drawing/2014/main" id="{5FD64939-12FB-8E86-EAD2-22B56C43BA32}"/>
              </a:ext>
            </a:extLst>
          </p:cNvPr>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chemeClr val="tx1"/>
                </a:solidFill>
                <a:effectLst/>
                <a:latin typeface="var(--artdeco-reset-typography-font-family-sans)"/>
                <a:hlinkClick r:id="rId3"/>
              </a:rPr>
              <a:t>Take me to Content Hub</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7" name="Picture 16">
            <a:extLst>
              <a:ext uri="{FF2B5EF4-FFF2-40B4-BE49-F238E27FC236}">
                <a16:creationId xmlns:a16="http://schemas.microsoft.com/office/drawing/2014/main" id="{D1ED4314-19E0-2A89-3C75-5801A9615816}"/>
              </a:ext>
            </a:extLst>
          </p:cNvPr>
          <p:cNvPicPr>
            <a:picLocks noChangeAspect="1"/>
          </p:cNvPicPr>
          <p:nvPr/>
        </p:nvPicPr>
        <p:blipFill>
          <a:blip r:embed="rId4"/>
          <a:stretch>
            <a:fillRect/>
          </a:stretch>
        </p:blipFill>
        <p:spPr>
          <a:xfrm>
            <a:off x="4979683" y="1665399"/>
            <a:ext cx="2664634" cy="20147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8" name="Arrow: Right 17">
            <a:extLst>
              <a:ext uri="{FF2B5EF4-FFF2-40B4-BE49-F238E27FC236}">
                <a16:creationId xmlns:a16="http://schemas.microsoft.com/office/drawing/2014/main" id="{DBBC4214-56C0-5423-5C63-CE67B9185183}"/>
              </a:ext>
            </a:extLst>
          </p:cNvPr>
          <p:cNvSpPr/>
          <p:nvPr/>
        </p:nvSpPr>
        <p:spPr>
          <a:xfrm rot="5400000">
            <a:off x="6657687" y="3931425"/>
            <a:ext cx="595850" cy="34664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9" name="Picture 18">
            <a:extLst>
              <a:ext uri="{FF2B5EF4-FFF2-40B4-BE49-F238E27FC236}">
                <a16:creationId xmlns:a16="http://schemas.microsoft.com/office/drawing/2014/main" id="{63BF1BA4-A791-35BF-268A-B1F88CBEDD17}"/>
              </a:ext>
            </a:extLst>
          </p:cNvPr>
          <p:cNvPicPr>
            <a:picLocks noChangeAspect="1"/>
          </p:cNvPicPr>
          <p:nvPr/>
        </p:nvPicPr>
        <p:blipFill>
          <a:blip r:embed="rId5"/>
          <a:stretch>
            <a:fillRect/>
          </a:stretch>
        </p:blipFill>
        <p:spPr>
          <a:xfrm>
            <a:off x="6312000" y="4474945"/>
            <a:ext cx="1336266" cy="2244408"/>
          </a:xfrm>
          <a:prstGeom prst="rect">
            <a:avLst/>
          </a:prstGeom>
        </p:spPr>
      </p:pic>
      <p:pic>
        <p:nvPicPr>
          <p:cNvPr id="4" name="Picture 3">
            <a:extLst>
              <a:ext uri="{FF2B5EF4-FFF2-40B4-BE49-F238E27FC236}">
                <a16:creationId xmlns:a16="http://schemas.microsoft.com/office/drawing/2014/main" id="{19B5042F-E693-5958-1579-B72C37D3901E}"/>
              </a:ext>
            </a:extLst>
          </p:cNvPr>
          <p:cNvPicPr>
            <a:picLocks noChangeAspect="1"/>
          </p:cNvPicPr>
          <p:nvPr/>
        </p:nvPicPr>
        <p:blipFill>
          <a:blip r:embed="rId6"/>
          <a:stretch>
            <a:fillRect/>
          </a:stretch>
        </p:blipFill>
        <p:spPr>
          <a:xfrm>
            <a:off x="482251" y="1697250"/>
            <a:ext cx="3518156" cy="45525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4241046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B5D56BCC-F09A-410A-830F-85F9347DC8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9" name="Object 28" hidden="1">
                        <a:extLst>
                          <a:ext uri="{FF2B5EF4-FFF2-40B4-BE49-F238E27FC236}">
                            <a16:creationId xmlns:a16="http://schemas.microsoft.com/office/drawing/2014/main" id="{B5D56BCC-F09A-410A-830F-85F9347DC8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Graphic 25">
            <a:extLst>
              <a:ext uri="{FF2B5EF4-FFF2-40B4-BE49-F238E27FC236}">
                <a16:creationId xmlns:a16="http://schemas.microsoft.com/office/drawing/2014/main" id="{7BC33915-9D3F-4FF5-A638-75141BCC24E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01493" y="2433022"/>
            <a:ext cx="640080" cy="337500"/>
          </a:xfrm>
          <a:prstGeom prst="rect">
            <a:avLst/>
          </a:prstGeom>
        </p:spPr>
      </p:pic>
      <p:sp>
        <p:nvSpPr>
          <p:cNvPr id="4" name="Rectangle: Top Corners Rounded 3">
            <a:extLst>
              <a:ext uri="{FF2B5EF4-FFF2-40B4-BE49-F238E27FC236}">
                <a16:creationId xmlns:a16="http://schemas.microsoft.com/office/drawing/2014/main" id="{2E7F51FD-5E22-45B9-B265-6A69B5F04E55}"/>
              </a:ext>
            </a:extLst>
          </p:cNvPr>
          <p:cNvSpPr/>
          <p:nvPr/>
        </p:nvSpPr>
        <p:spPr>
          <a:xfrm flipV="1">
            <a:off x="384173" y="2712378"/>
            <a:ext cx="3474720" cy="3566184"/>
          </a:xfrm>
          <a:prstGeom prst="round2SameRect">
            <a:avLst>
              <a:gd name="adj1" fmla="val 9250"/>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5" name="Rectangle: Rounded Corners 4">
            <a:extLst>
              <a:ext uri="{FF2B5EF4-FFF2-40B4-BE49-F238E27FC236}">
                <a16:creationId xmlns:a16="http://schemas.microsoft.com/office/drawing/2014/main" id="{4BC08B22-EDFB-4888-8C3F-F3E3331DEB40}"/>
              </a:ext>
            </a:extLst>
          </p:cNvPr>
          <p:cNvSpPr>
            <a:spLocks/>
          </p:cNvSpPr>
          <p:nvPr/>
        </p:nvSpPr>
        <p:spPr>
          <a:xfrm>
            <a:off x="589913" y="1717005"/>
            <a:ext cx="3063240" cy="4355804"/>
          </a:xfrm>
          <a:prstGeom prst="roundRect">
            <a:avLst>
              <a:gd name="adj" fmla="val 7959"/>
            </a:avLst>
          </a:prstGeom>
          <a:noFill/>
          <a:ln w="1905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27" name="Graphic 26">
            <a:extLst>
              <a:ext uri="{FF2B5EF4-FFF2-40B4-BE49-F238E27FC236}">
                <a16:creationId xmlns:a16="http://schemas.microsoft.com/office/drawing/2014/main" id="{A4C7962E-3ED7-4707-9A8A-9ABF28C8CBC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39313" y="2433022"/>
            <a:ext cx="640080" cy="337500"/>
          </a:xfrm>
          <a:prstGeom prst="rect">
            <a:avLst/>
          </a:prstGeom>
        </p:spPr>
      </p:pic>
      <p:sp>
        <p:nvSpPr>
          <p:cNvPr id="8" name="Rectangle: Top Corners Rounded 7">
            <a:extLst>
              <a:ext uri="{FF2B5EF4-FFF2-40B4-BE49-F238E27FC236}">
                <a16:creationId xmlns:a16="http://schemas.microsoft.com/office/drawing/2014/main" id="{864ACE25-5D64-4041-942A-452F3138CF91}"/>
              </a:ext>
            </a:extLst>
          </p:cNvPr>
          <p:cNvSpPr/>
          <p:nvPr/>
        </p:nvSpPr>
        <p:spPr>
          <a:xfrm flipV="1">
            <a:off x="4321993" y="2712378"/>
            <a:ext cx="3474720" cy="3566184"/>
          </a:xfrm>
          <a:prstGeom prst="round2SameRect">
            <a:avLst>
              <a:gd name="adj1" fmla="val 9250"/>
              <a:gd name="adj2" fmla="val 0"/>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 name="Rectangle: Rounded Corners 8">
            <a:extLst>
              <a:ext uri="{FF2B5EF4-FFF2-40B4-BE49-F238E27FC236}">
                <a16:creationId xmlns:a16="http://schemas.microsoft.com/office/drawing/2014/main" id="{E4C2A949-26A4-407E-8D35-045A76D654CE}"/>
              </a:ext>
            </a:extLst>
          </p:cNvPr>
          <p:cNvSpPr>
            <a:spLocks/>
          </p:cNvSpPr>
          <p:nvPr/>
        </p:nvSpPr>
        <p:spPr>
          <a:xfrm>
            <a:off x="4527733" y="1717005"/>
            <a:ext cx="3063240" cy="4355804"/>
          </a:xfrm>
          <a:prstGeom prst="roundRect">
            <a:avLst>
              <a:gd name="adj" fmla="val 7959"/>
            </a:avLst>
          </a:prstGeom>
          <a:noFill/>
          <a:ln w="1905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28" name="Graphic 27">
            <a:extLst>
              <a:ext uri="{FF2B5EF4-FFF2-40B4-BE49-F238E27FC236}">
                <a16:creationId xmlns:a16="http://schemas.microsoft.com/office/drawing/2014/main" id="{B58DF297-4222-43B4-BC5F-11D8AA679D0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677132" y="2433022"/>
            <a:ext cx="640080" cy="337500"/>
          </a:xfrm>
          <a:prstGeom prst="rect">
            <a:avLst/>
          </a:prstGeom>
        </p:spPr>
      </p:pic>
      <p:sp>
        <p:nvSpPr>
          <p:cNvPr id="12" name="Rectangle: Top Corners Rounded 11">
            <a:extLst>
              <a:ext uri="{FF2B5EF4-FFF2-40B4-BE49-F238E27FC236}">
                <a16:creationId xmlns:a16="http://schemas.microsoft.com/office/drawing/2014/main" id="{69F6C9B9-D91F-4A80-9A08-41E5DA621D12}"/>
              </a:ext>
            </a:extLst>
          </p:cNvPr>
          <p:cNvSpPr/>
          <p:nvPr/>
        </p:nvSpPr>
        <p:spPr>
          <a:xfrm flipV="1">
            <a:off x="8259812" y="2712378"/>
            <a:ext cx="3474720" cy="3566184"/>
          </a:xfrm>
          <a:prstGeom prst="round2SameRect">
            <a:avLst>
              <a:gd name="adj1" fmla="val 9250"/>
              <a:gd name="adj2" fmla="val 0"/>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Rectangle: Rounded Corners 12">
            <a:extLst>
              <a:ext uri="{FF2B5EF4-FFF2-40B4-BE49-F238E27FC236}">
                <a16:creationId xmlns:a16="http://schemas.microsoft.com/office/drawing/2014/main" id="{0A794BEC-2AE4-4345-BC5F-512375AD97D2}"/>
              </a:ext>
            </a:extLst>
          </p:cNvPr>
          <p:cNvSpPr>
            <a:spLocks/>
          </p:cNvSpPr>
          <p:nvPr/>
        </p:nvSpPr>
        <p:spPr>
          <a:xfrm>
            <a:off x="8465552" y="1717005"/>
            <a:ext cx="3063240" cy="4355804"/>
          </a:xfrm>
          <a:prstGeom prst="roundRect">
            <a:avLst>
              <a:gd name="adj" fmla="val 7959"/>
            </a:avLst>
          </a:prstGeom>
          <a:noFill/>
          <a:ln w="1905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0" name="Text Placeholder 30">
            <a:extLst>
              <a:ext uri="{FF2B5EF4-FFF2-40B4-BE49-F238E27FC236}">
                <a16:creationId xmlns:a16="http://schemas.microsoft.com/office/drawing/2014/main" id="{5F3FC854-9CC8-4A29-A2C6-E749432B089D}"/>
              </a:ext>
            </a:extLst>
          </p:cNvPr>
          <p:cNvSpPr txBox="1">
            <a:spLocks/>
          </p:cNvSpPr>
          <p:nvPr/>
        </p:nvSpPr>
        <p:spPr>
          <a:xfrm>
            <a:off x="589913" y="1876316"/>
            <a:ext cx="3063241" cy="414822"/>
          </a:xfrm>
          <a:prstGeom prst="rect">
            <a:avLst/>
          </a:prstGeom>
        </p:spPr>
        <p:txBody>
          <a:bodyPr anchor="ct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algn="ctr" fontAlgn="base">
              <a:lnSpc>
                <a:spcPct val="100000"/>
              </a:lnSpc>
              <a:spcAft>
                <a:spcPct val="0"/>
              </a:spcAft>
              <a:defRPr/>
            </a:pPr>
            <a:r>
              <a:rPr lang="en-US" sz="2000">
                <a:solidFill>
                  <a:schemeClr val="accent1"/>
                </a:solidFill>
              </a:rPr>
              <a:t>Sponsored Messaging</a:t>
            </a:r>
            <a:endParaRPr lang="en-US" sz="1600" b="0">
              <a:solidFill>
                <a:schemeClr val="tx1"/>
              </a:solidFill>
            </a:endParaRPr>
          </a:p>
        </p:txBody>
      </p:sp>
      <p:sp>
        <p:nvSpPr>
          <p:cNvPr id="21" name="Text Placeholder 30">
            <a:extLst>
              <a:ext uri="{FF2B5EF4-FFF2-40B4-BE49-F238E27FC236}">
                <a16:creationId xmlns:a16="http://schemas.microsoft.com/office/drawing/2014/main" id="{30EA5735-A15E-45C3-B25C-B5A91A22A39F}"/>
              </a:ext>
            </a:extLst>
          </p:cNvPr>
          <p:cNvSpPr txBox="1">
            <a:spLocks/>
          </p:cNvSpPr>
          <p:nvPr/>
        </p:nvSpPr>
        <p:spPr>
          <a:xfrm>
            <a:off x="4527732" y="1876316"/>
            <a:ext cx="3063241" cy="414822"/>
          </a:xfrm>
          <a:prstGeom prst="rect">
            <a:avLst/>
          </a:prstGeom>
        </p:spPr>
        <p:txBody>
          <a:bodyPr anchor="ct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algn="ctr" fontAlgn="base">
              <a:lnSpc>
                <a:spcPct val="100000"/>
              </a:lnSpc>
              <a:spcAft>
                <a:spcPct val="0"/>
              </a:spcAft>
              <a:defRPr/>
            </a:pPr>
            <a:r>
              <a:rPr lang="en-US" sz="2000">
                <a:solidFill>
                  <a:schemeClr val="accent2"/>
                </a:solidFill>
              </a:rPr>
              <a:t>Sender's profile</a:t>
            </a:r>
            <a:endParaRPr lang="en-US" sz="1600" b="0">
              <a:solidFill>
                <a:schemeClr val="accent2"/>
              </a:solidFill>
            </a:endParaRPr>
          </a:p>
        </p:txBody>
      </p:sp>
      <p:sp>
        <p:nvSpPr>
          <p:cNvPr id="22" name="Text Placeholder 30">
            <a:extLst>
              <a:ext uri="{FF2B5EF4-FFF2-40B4-BE49-F238E27FC236}">
                <a16:creationId xmlns:a16="http://schemas.microsoft.com/office/drawing/2014/main" id="{6F0B7CA2-E360-4594-B867-AE803A4A77BA}"/>
              </a:ext>
            </a:extLst>
          </p:cNvPr>
          <p:cNvSpPr txBox="1">
            <a:spLocks/>
          </p:cNvSpPr>
          <p:nvPr/>
        </p:nvSpPr>
        <p:spPr>
          <a:xfrm>
            <a:off x="8465551" y="1876316"/>
            <a:ext cx="3063241" cy="414822"/>
          </a:xfrm>
          <a:prstGeom prst="rect">
            <a:avLst/>
          </a:prstGeom>
        </p:spPr>
        <p:txBody>
          <a:bodyPr anchor="ct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algn="ctr" fontAlgn="base">
              <a:lnSpc>
                <a:spcPct val="100000"/>
              </a:lnSpc>
              <a:spcAft>
                <a:spcPct val="0"/>
              </a:spcAft>
              <a:defRPr/>
            </a:pPr>
            <a:r>
              <a:rPr lang="en-US" sz="2000">
                <a:solidFill>
                  <a:schemeClr val="accent5"/>
                </a:solidFill>
              </a:rPr>
              <a:t>Credible sender</a:t>
            </a:r>
            <a:endParaRPr lang="en-US" sz="1600" b="0">
              <a:solidFill>
                <a:schemeClr val="accent5"/>
              </a:solidFill>
            </a:endParaRPr>
          </a:p>
        </p:txBody>
      </p:sp>
      <p:sp>
        <p:nvSpPr>
          <p:cNvPr id="23" name="TextBox 22">
            <a:extLst>
              <a:ext uri="{FF2B5EF4-FFF2-40B4-BE49-F238E27FC236}">
                <a16:creationId xmlns:a16="http://schemas.microsoft.com/office/drawing/2014/main" id="{C70B2ED0-2D34-432B-9B21-2E9F2A7097E4}"/>
              </a:ext>
            </a:extLst>
          </p:cNvPr>
          <p:cNvSpPr txBox="1">
            <a:spLocks/>
          </p:cNvSpPr>
          <p:nvPr/>
        </p:nvSpPr>
        <p:spPr>
          <a:xfrm>
            <a:off x="589913" y="2903034"/>
            <a:ext cx="3063240" cy="1144844"/>
          </a:xfrm>
          <a:prstGeom prst="rect">
            <a:avLst/>
          </a:prstGeom>
          <a:ln>
            <a:noFill/>
          </a:ln>
        </p:spPr>
        <p:txBody>
          <a:bodyPr vert="horz" wrap="square" lIns="91440" tIns="45720" rIns="91440" bIns="45720" numCol="1" rtlCol="0" anchor="t" anchorCtr="0" compatLnSpc="1">
            <a:prstTxWarp prst="textNoShape">
              <a:avLst/>
            </a:prstTxWarp>
            <a:noAutofit/>
          </a:bodyPr>
          <a:lstStyle/>
          <a:p>
            <a:pPr marL="182880" indent="-182880">
              <a:spcBef>
                <a:spcPts val="600"/>
              </a:spcBef>
              <a:buFont typeface="Arial" panose="020B0604020202020204" pitchFamily="34" charset="0"/>
              <a:buChar char="•"/>
            </a:pPr>
            <a:r>
              <a:rPr lang="en-US" sz="1400">
                <a:solidFill>
                  <a:schemeClr val="bg1"/>
                </a:solidFill>
              </a:rPr>
              <a:t>Sponsored Messaging ads see the highest open rates on Tuesdays and get the most clicks on weekends.</a:t>
            </a:r>
          </a:p>
          <a:p>
            <a:pPr marL="182880" indent="-182880">
              <a:spcBef>
                <a:spcPts val="600"/>
              </a:spcBef>
              <a:buFont typeface="Arial" panose="020B0604020202020204" pitchFamily="34" charset="0"/>
              <a:buChar char="•"/>
            </a:pPr>
            <a:endParaRPr lang="en-US" sz="1400">
              <a:solidFill>
                <a:schemeClr val="bg1"/>
              </a:solidFill>
            </a:endParaRPr>
          </a:p>
          <a:p>
            <a:pPr marL="182880" indent="-182880">
              <a:spcBef>
                <a:spcPts val="600"/>
              </a:spcBef>
              <a:buFont typeface="Arial" panose="020B0604020202020204" pitchFamily="34" charset="0"/>
              <a:buChar char="•"/>
            </a:pPr>
            <a:r>
              <a:rPr lang="en-US" sz="1400">
                <a:solidFill>
                  <a:schemeClr val="bg1"/>
                </a:solidFill>
              </a:rPr>
              <a:t>A/B Test – Use multiple messages / Subject lines / Offer CTAs.</a:t>
            </a:r>
          </a:p>
          <a:p>
            <a:pPr marL="182880" indent="-182880">
              <a:spcBef>
                <a:spcPts val="600"/>
              </a:spcBef>
              <a:buFont typeface="Arial" panose="020B0604020202020204" pitchFamily="34" charset="0"/>
              <a:buChar char="•"/>
            </a:pPr>
            <a:endParaRPr lang="en-US" sz="1400">
              <a:solidFill>
                <a:schemeClr val="bg1"/>
              </a:solidFill>
            </a:endParaRPr>
          </a:p>
          <a:p>
            <a:pPr marL="182880" indent="-182880">
              <a:spcBef>
                <a:spcPts val="600"/>
              </a:spcBef>
              <a:buFont typeface="Arial" panose="020B0604020202020204" pitchFamily="34" charset="0"/>
              <a:buChar char="•"/>
            </a:pPr>
            <a:r>
              <a:rPr lang="en-US" sz="1400">
                <a:solidFill>
                  <a:schemeClr val="bg1"/>
                </a:solidFill>
              </a:rPr>
              <a:t>Don't include "not interested" CTAs. Uninterested recipients will simply close the ad. Instead, focus on CTAs that help achieve your business objectives.</a:t>
            </a:r>
          </a:p>
        </p:txBody>
      </p:sp>
      <p:sp>
        <p:nvSpPr>
          <p:cNvPr id="24" name="TextBox 23">
            <a:extLst>
              <a:ext uri="{FF2B5EF4-FFF2-40B4-BE49-F238E27FC236}">
                <a16:creationId xmlns:a16="http://schemas.microsoft.com/office/drawing/2014/main" id="{283E9139-502A-4E95-BD4B-7607E36D4315}"/>
              </a:ext>
            </a:extLst>
          </p:cNvPr>
          <p:cNvSpPr txBox="1">
            <a:spLocks/>
          </p:cNvSpPr>
          <p:nvPr/>
        </p:nvSpPr>
        <p:spPr>
          <a:xfrm>
            <a:off x="4527732" y="2903034"/>
            <a:ext cx="3063240" cy="1144844"/>
          </a:xfrm>
          <a:prstGeom prst="rect">
            <a:avLst/>
          </a:prstGeom>
          <a:ln>
            <a:noFill/>
          </a:ln>
        </p:spPr>
        <p:txBody>
          <a:bodyPr vert="horz" wrap="square" lIns="91440" tIns="45720" rIns="91440" bIns="45720" numCol="1" rtlCol="0" anchor="t" anchorCtr="0" compatLnSpc="1">
            <a:prstTxWarp prst="textNoShape">
              <a:avLst/>
            </a:prstTxWarp>
            <a:noAutofit/>
          </a:bodyPr>
          <a:lstStyle/>
          <a:p>
            <a:pPr marL="182880" indent="-182880">
              <a:spcBef>
                <a:spcPts val="600"/>
              </a:spcBef>
              <a:buFont typeface="Arial" panose="020B0604020202020204" pitchFamily="34" charset="0"/>
              <a:buChar char="•"/>
            </a:pPr>
            <a:r>
              <a:rPr lang="en-US" sz="1400">
                <a:solidFill>
                  <a:schemeClr val="bg1"/>
                </a:solidFill>
              </a:rPr>
              <a:t>Make sure the sender's profile image is a high-quality, professional image of their face.</a:t>
            </a:r>
          </a:p>
          <a:p>
            <a:pPr>
              <a:spcBef>
                <a:spcPts val="600"/>
              </a:spcBef>
            </a:pPr>
            <a:endParaRPr lang="en-US" sz="1400">
              <a:solidFill>
                <a:schemeClr val="bg1"/>
              </a:solidFill>
            </a:endParaRPr>
          </a:p>
          <a:p>
            <a:pPr marL="182880" indent="-182880">
              <a:spcBef>
                <a:spcPts val="600"/>
              </a:spcBef>
              <a:buFont typeface="Arial" panose="020B0604020202020204" pitchFamily="34" charset="0"/>
              <a:buChar char="•"/>
            </a:pPr>
            <a:r>
              <a:rPr lang="en-US" sz="1400">
                <a:solidFill>
                  <a:schemeClr val="bg1"/>
                </a:solidFill>
              </a:rPr>
              <a:t>Ask the sender to confirm in member settings that their profile photo should visible to LinkedIn members. It will need to be set to either "All LinkedIn Members" or "Public" for all recipients to see it.</a:t>
            </a:r>
          </a:p>
        </p:txBody>
      </p:sp>
      <p:sp>
        <p:nvSpPr>
          <p:cNvPr id="25" name="TextBox 24">
            <a:extLst>
              <a:ext uri="{FF2B5EF4-FFF2-40B4-BE49-F238E27FC236}">
                <a16:creationId xmlns:a16="http://schemas.microsoft.com/office/drawing/2014/main" id="{1D6ED8A7-8F1E-4072-9D1C-15F2670F9CB7}"/>
              </a:ext>
            </a:extLst>
          </p:cNvPr>
          <p:cNvSpPr txBox="1">
            <a:spLocks/>
          </p:cNvSpPr>
          <p:nvPr/>
        </p:nvSpPr>
        <p:spPr>
          <a:xfrm>
            <a:off x="8465551" y="2903034"/>
            <a:ext cx="3063240" cy="1144844"/>
          </a:xfrm>
          <a:prstGeom prst="rect">
            <a:avLst/>
          </a:prstGeom>
          <a:ln>
            <a:noFill/>
          </a:ln>
        </p:spPr>
        <p:txBody>
          <a:bodyPr vert="horz" wrap="square" lIns="91440" tIns="45720" rIns="91440" bIns="45720" numCol="1" rtlCol="0" anchor="t" anchorCtr="0" compatLnSpc="1">
            <a:prstTxWarp prst="textNoShape">
              <a:avLst/>
            </a:prstTxWarp>
            <a:noAutofit/>
          </a:bodyPr>
          <a:lstStyle/>
          <a:p>
            <a:pPr marL="182880" indent="-182880">
              <a:spcBef>
                <a:spcPts val="600"/>
              </a:spcBef>
              <a:buFont typeface="Arial" panose="020B0604020202020204" pitchFamily="34" charset="0"/>
              <a:buChar char="•"/>
            </a:pPr>
            <a:r>
              <a:rPr lang="en-US" sz="1400">
                <a:solidFill>
                  <a:schemeClr val="bg1"/>
                </a:solidFill>
              </a:rPr>
              <a:t>Choose someone ideally with a title of director or higher; who is relevant to your message and credible to your audience. Set up your sender using LinkedIn’s </a:t>
            </a:r>
            <a:r>
              <a:rPr lang="en-US" sz="1400">
                <a:solidFill>
                  <a:schemeClr val="bg1"/>
                </a:solidFill>
                <a:hlinkClick r:id="rId11"/>
              </a:rPr>
              <a:t>permission process</a:t>
            </a:r>
            <a:r>
              <a:rPr lang="en-US" sz="1400">
                <a:solidFill>
                  <a:schemeClr val="bg1"/>
                </a:solidFill>
              </a:rPr>
              <a:t>.</a:t>
            </a:r>
          </a:p>
        </p:txBody>
      </p:sp>
      <p:sp>
        <p:nvSpPr>
          <p:cNvPr id="2" name="Title 1">
            <a:extLst>
              <a:ext uri="{FF2B5EF4-FFF2-40B4-BE49-F238E27FC236}">
                <a16:creationId xmlns:a16="http://schemas.microsoft.com/office/drawing/2014/main" id="{5E9B417D-F532-4CDC-BDA3-3016616DB01A}"/>
              </a:ext>
            </a:extLst>
          </p:cNvPr>
          <p:cNvSpPr>
            <a:spLocks noGrp="1"/>
          </p:cNvSpPr>
          <p:nvPr>
            <p:ph type="title"/>
          </p:nvPr>
        </p:nvSpPr>
        <p:spPr/>
        <p:txBody>
          <a:bodyPr/>
          <a:lstStyle/>
          <a:p>
            <a:r>
              <a:rPr lang="en-US"/>
              <a:t>Best Practices for Sponsored Messaging ads</a:t>
            </a:r>
          </a:p>
        </p:txBody>
      </p:sp>
    </p:spTree>
    <p:extLst>
      <p:ext uri="{BB962C8B-B14F-4D97-AF65-F5344CB8AC3E}">
        <p14:creationId xmlns:p14="http://schemas.microsoft.com/office/powerpoint/2010/main" val="17857082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2.1.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4" id="{A6DE1258-39A2-2945-9072-8BE7ECCDA81F}" vid="{B8DDE78A-610C-3E43-B28E-6C810C23E004}"/>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c9b69b2-596d-4757-b9cd-cd8972304baa" xsi:nil="true"/>
    <lcf76f155ced4ddcb4097134ff3c332f xmlns="a3d99252-4236-4875-9705-b79300e2d557">
      <Terms xmlns="http://schemas.microsoft.com/office/infopath/2007/PartnerControls"/>
    </lcf76f155ced4ddcb4097134ff3c332f>
    <SharedWithUsers xmlns="1c9b69b2-596d-4757-b9cd-cd8972304baa">
      <UserInfo>
        <DisplayName>Galagali, Hemant</DisplayName>
        <AccountId>1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741A8027A94C54E8B871968FAA6C492" ma:contentTypeVersion="16" ma:contentTypeDescription="Create a new document." ma:contentTypeScope="" ma:versionID="462aaf31dcdf522561c146be05b251f4">
  <xsd:schema xmlns:xsd="http://www.w3.org/2001/XMLSchema" xmlns:xs="http://www.w3.org/2001/XMLSchema" xmlns:p="http://schemas.microsoft.com/office/2006/metadata/properties" xmlns:ns2="a3d99252-4236-4875-9705-b79300e2d557" xmlns:ns3="1c9b69b2-596d-4757-b9cd-cd8972304baa" targetNamespace="http://schemas.microsoft.com/office/2006/metadata/properties" ma:root="true" ma:fieldsID="9e6ee6a28acd404001292acf7e11d403" ns2:_="" ns3:_="">
    <xsd:import namespace="a3d99252-4236-4875-9705-b79300e2d557"/>
    <xsd:import namespace="1c9b69b2-596d-4757-b9cd-cd8972304b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DocTags"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d99252-4236-4875-9705-b79300e2d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68784c8-5187-4d12-af89-ac967a81122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DocTags" ma:index="20" nillable="true" ma:displayName="MediaServiceDocTags" ma:hidden="true" ma:internalName="MediaServiceDoc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9b69b2-596d-4757-b9cd-cd8972304b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7e752f-aa54-418c-a827-14a947def056}" ma:internalName="TaxCatchAll" ma:showField="CatchAllData" ma:web="1c9b69b2-596d-4757-b9cd-cd8972304b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7C149D-E823-4D19-880D-317A9C471864}">
  <ds:schemaRefs>
    <ds:schemaRef ds:uri="1c9b69b2-596d-4757-b9cd-cd8972304baa"/>
    <ds:schemaRef ds:uri="a3d99252-4236-4875-9705-b79300e2d55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E3DDDE9-F411-4B8B-84C3-751698C84308}">
  <ds:schemaRefs>
    <ds:schemaRef ds:uri="http://schemas.microsoft.com/sharepoint/v3/contenttype/forms"/>
  </ds:schemaRefs>
</ds:datastoreItem>
</file>

<file path=customXml/itemProps3.xml><?xml version="1.0" encoding="utf-8"?>
<ds:datastoreItem xmlns:ds="http://schemas.openxmlformats.org/officeDocument/2006/customXml" ds:itemID="{88FCD1E4-562C-4992-A2D1-FD99CF4D5939}">
  <ds:schemaRefs>
    <ds:schemaRef ds:uri="1c9b69b2-596d-4757-b9cd-cd8972304baa"/>
    <ds:schemaRef ds:uri="a3d99252-4236-4875-9705-b79300e2d5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10</Slides>
  <Notes>2</Notes>
  <HiddenSlides>0</HiddenSlide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IQVIA_V2.1.0</vt:lpstr>
      <vt:lpstr>LinkedIn Sponsored Messaging Ad Formats   Message &amp; Conversation Ads</vt:lpstr>
      <vt:lpstr>Agenda</vt:lpstr>
      <vt:lpstr>Marketing Operations Open Office Hours </vt:lpstr>
      <vt:lpstr>Introduction to LinkedIn Ad Formats and Specifications</vt:lpstr>
      <vt:lpstr>How Sponsored Messaging ads work</vt:lpstr>
      <vt:lpstr>What Are Message Ads?</vt:lpstr>
      <vt:lpstr>What Are Conversation Ads?</vt:lpstr>
      <vt:lpstr>Conversation Ad Flow</vt:lpstr>
      <vt:lpstr>Best Practices for Sponsored Messaging ad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Automation &amp; Operations</dc:title>
  <dc:creator>Cuff, Phil</dc:creator>
  <cp:revision>1</cp:revision>
  <cp:lastPrinted>2019-08-20T20:33:24Z</cp:lastPrinted>
  <dcterms:created xsi:type="dcterms:W3CDTF">2021-10-01T10:36:34Z</dcterms:created>
  <dcterms:modified xsi:type="dcterms:W3CDTF">2024-12-04T12:4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41A8027A94C54E8B871968FAA6C492</vt:lpwstr>
  </property>
  <property fmtid="{D5CDD505-2E9C-101B-9397-08002B2CF9AE}" pid="3" name="MediaServiceImageTags">
    <vt:lpwstr/>
  </property>
</Properties>
</file>